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56" r:id="rId2"/>
    <p:sldId id="686" r:id="rId3"/>
    <p:sldId id="2538" r:id="rId4"/>
    <p:sldId id="2540" r:id="rId5"/>
    <p:sldId id="2541" r:id="rId6"/>
    <p:sldId id="2539" r:id="rId7"/>
    <p:sldId id="2548" r:id="rId8"/>
    <p:sldId id="2550" r:id="rId9"/>
    <p:sldId id="2535" r:id="rId10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50000"/>
      </a:spcBef>
      <a:spcAft>
        <a:spcPct val="0"/>
      </a:spcAft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1pPr>
    <a:lvl2pPr marL="435339" algn="l" rtl="0" eaLnBrk="0" fontAlgn="base" hangingPunct="0">
      <a:spcBef>
        <a:spcPct val="50000"/>
      </a:spcBef>
      <a:spcAft>
        <a:spcPct val="0"/>
      </a:spcAft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2pPr>
    <a:lvl3pPr marL="870678" algn="l" rtl="0" eaLnBrk="0" fontAlgn="base" hangingPunct="0">
      <a:spcBef>
        <a:spcPct val="50000"/>
      </a:spcBef>
      <a:spcAft>
        <a:spcPct val="0"/>
      </a:spcAft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3pPr>
    <a:lvl4pPr marL="1306019" algn="l" rtl="0" eaLnBrk="0" fontAlgn="base" hangingPunct="0">
      <a:spcBef>
        <a:spcPct val="50000"/>
      </a:spcBef>
      <a:spcAft>
        <a:spcPct val="0"/>
      </a:spcAft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4pPr>
    <a:lvl5pPr marL="1741358" algn="l" rtl="0" eaLnBrk="0" fontAlgn="base" hangingPunct="0">
      <a:spcBef>
        <a:spcPct val="50000"/>
      </a:spcBef>
      <a:spcAft>
        <a:spcPct val="0"/>
      </a:spcAft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5pPr>
    <a:lvl6pPr marL="2176698" algn="l" defTabSz="870678" rtl="0" eaLnBrk="1" latinLnBrk="0" hangingPunct="1"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6pPr>
    <a:lvl7pPr marL="2612037" algn="l" defTabSz="870678" rtl="0" eaLnBrk="1" latinLnBrk="0" hangingPunct="1"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7pPr>
    <a:lvl8pPr marL="3047376" algn="l" defTabSz="870678" rtl="0" eaLnBrk="1" latinLnBrk="0" hangingPunct="1"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8pPr>
    <a:lvl9pPr marL="3482716" algn="l" defTabSz="870678" rtl="0" eaLnBrk="1" latinLnBrk="0" hangingPunct="1">
      <a:defRPr sz="1809" kern="1200">
        <a:solidFill>
          <a:schemeClr val="tx1"/>
        </a:solidFill>
        <a:latin typeface="Garamond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9F9F9"/>
    <a:srgbClr val="ECECEC"/>
    <a:srgbClr val="3CAFE6"/>
    <a:srgbClr val="E6E6E6"/>
    <a:srgbClr val="F1F3F5"/>
    <a:srgbClr val="AB0909"/>
    <a:srgbClr val="364250"/>
    <a:srgbClr val="D63D3F"/>
    <a:srgbClr val="74AA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39FB80-AB77-C46E-F468-A8D4589CE0F1}" v="1" dt="2023-10-04T09:12:19.636"/>
    <p1510:client id="{F11B1294-5997-4A19-8D57-C720954D46D0}" v="133" dt="2023-10-04T10:16:41.9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23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istan MURATORE" userId="bba1d389-e75f-4912-b7b7-5ca422ed5333" providerId="ADAL" clId="{F11B1294-5997-4A19-8D57-C720954D46D0}"/>
    <pc:docChg chg="undo redo custSel addSld delSld modSld sldOrd">
      <pc:chgData name="Tristan MURATORE" userId="bba1d389-e75f-4912-b7b7-5ca422ed5333" providerId="ADAL" clId="{F11B1294-5997-4A19-8D57-C720954D46D0}" dt="2023-10-04T10:17:11.636" v="3538" actId="47"/>
      <pc:docMkLst>
        <pc:docMk/>
      </pc:docMkLst>
      <pc:sldChg chg="modSp mod">
        <pc:chgData name="Tristan MURATORE" userId="bba1d389-e75f-4912-b7b7-5ca422ed5333" providerId="ADAL" clId="{F11B1294-5997-4A19-8D57-C720954D46D0}" dt="2023-10-02T14:06:45.745" v="1658" actId="20577"/>
        <pc:sldMkLst>
          <pc:docMk/>
          <pc:sldMk cId="3952151717" sldId="256"/>
        </pc:sldMkLst>
        <pc:spChg chg="mod">
          <ac:chgData name="Tristan MURATORE" userId="bba1d389-e75f-4912-b7b7-5ca422ed5333" providerId="ADAL" clId="{F11B1294-5997-4A19-8D57-C720954D46D0}" dt="2023-10-02T13:21:00.087" v="105" actId="20577"/>
          <ac:spMkLst>
            <pc:docMk/>
            <pc:sldMk cId="3952151717" sldId="256"/>
            <ac:spMk id="10" creationId="{E3266E44-DDA0-A3BD-CFAC-5AA72078B298}"/>
          </ac:spMkLst>
        </pc:spChg>
        <pc:spChg chg="mod">
          <ac:chgData name="Tristan MURATORE" userId="bba1d389-e75f-4912-b7b7-5ca422ed5333" providerId="ADAL" clId="{F11B1294-5997-4A19-8D57-C720954D46D0}" dt="2023-10-02T14:06:45.745" v="1658" actId="20577"/>
          <ac:spMkLst>
            <pc:docMk/>
            <pc:sldMk cId="3952151717" sldId="256"/>
            <ac:spMk id="12" creationId="{E58F6D98-4226-8990-B3B4-08645D7B4F8C}"/>
          </ac:spMkLst>
        </pc:spChg>
        <pc:spChg chg="mod">
          <ac:chgData name="Tristan MURATORE" userId="bba1d389-e75f-4912-b7b7-5ca422ed5333" providerId="ADAL" clId="{F11B1294-5997-4A19-8D57-C720954D46D0}" dt="2023-10-02T13:20:31.609" v="28" actId="20577"/>
          <ac:spMkLst>
            <pc:docMk/>
            <pc:sldMk cId="3952151717" sldId="256"/>
            <ac:spMk id="14" creationId="{7413645E-2823-3758-66B7-E44090D0C03E}"/>
          </ac:spMkLst>
        </pc:spChg>
      </pc:sldChg>
      <pc:sldChg chg="addSp delSp modSp add mod">
        <pc:chgData name="Tristan MURATORE" userId="bba1d389-e75f-4912-b7b7-5ca422ed5333" providerId="ADAL" clId="{F11B1294-5997-4A19-8D57-C720954D46D0}" dt="2023-10-02T14:04:42.272" v="1599" actId="20577"/>
        <pc:sldMkLst>
          <pc:docMk/>
          <pc:sldMk cId="2069120931" sldId="686"/>
        </pc:sldMkLst>
        <pc:spChg chg="mod">
          <ac:chgData name="Tristan MURATORE" userId="bba1d389-e75f-4912-b7b7-5ca422ed5333" providerId="ADAL" clId="{F11B1294-5997-4A19-8D57-C720954D46D0}" dt="2023-10-02T14:04:42.272" v="1599" actId="20577"/>
          <ac:spMkLst>
            <pc:docMk/>
            <pc:sldMk cId="2069120931" sldId="686"/>
            <ac:spMk id="16" creationId="{00000000-0000-0000-0000-000000000000}"/>
          </ac:spMkLst>
        </pc:spChg>
        <pc:spChg chg="del">
          <ac:chgData name="Tristan MURATORE" userId="bba1d389-e75f-4912-b7b7-5ca422ed5333" providerId="ADAL" clId="{F11B1294-5997-4A19-8D57-C720954D46D0}" dt="2023-10-02T13:30:51.151" v="784" actId="478"/>
          <ac:spMkLst>
            <pc:docMk/>
            <pc:sldMk cId="2069120931" sldId="686"/>
            <ac:spMk id="17" creationId="{00000000-0000-0000-0000-000000000000}"/>
          </ac:spMkLst>
        </pc:spChg>
        <pc:spChg chg="add del mod">
          <ac:chgData name="Tristan MURATORE" userId="bba1d389-e75f-4912-b7b7-5ca422ed5333" providerId="ADAL" clId="{F11B1294-5997-4A19-8D57-C720954D46D0}" dt="2023-10-02T14:04:25.908" v="1578" actId="20577"/>
          <ac:spMkLst>
            <pc:docMk/>
            <pc:sldMk cId="2069120931" sldId="686"/>
            <ac:spMk id="24" creationId="{00000000-0000-0000-0000-000000000000}"/>
          </ac:spMkLst>
        </pc:spChg>
        <pc:spChg chg="add del">
          <ac:chgData name="Tristan MURATORE" userId="bba1d389-e75f-4912-b7b7-5ca422ed5333" providerId="ADAL" clId="{F11B1294-5997-4A19-8D57-C720954D46D0}" dt="2023-10-02T13:32:13.208" v="876" actId="478"/>
          <ac:spMkLst>
            <pc:docMk/>
            <pc:sldMk cId="2069120931" sldId="686"/>
            <ac:spMk id="25" creationId="{00000000-0000-0000-0000-000000000000}"/>
          </ac:spMkLst>
        </pc:spChg>
        <pc:spChg chg="mod topLvl">
          <ac:chgData name="Tristan MURATORE" userId="bba1d389-e75f-4912-b7b7-5ca422ed5333" providerId="ADAL" clId="{F11B1294-5997-4A19-8D57-C720954D46D0}" dt="2023-10-02T14:03:58.423" v="1561" actId="1076"/>
          <ac:spMkLst>
            <pc:docMk/>
            <pc:sldMk cId="2069120931" sldId="686"/>
            <ac:spMk id="41" creationId="{00000000-0000-0000-0000-000000000000}"/>
          </ac:spMkLst>
        </pc:spChg>
        <pc:spChg chg="mod topLvl">
          <ac:chgData name="Tristan MURATORE" userId="bba1d389-e75f-4912-b7b7-5ca422ed5333" providerId="ADAL" clId="{F11B1294-5997-4A19-8D57-C720954D46D0}" dt="2023-10-02T14:03:58.423" v="1561" actId="1076"/>
          <ac:spMkLst>
            <pc:docMk/>
            <pc:sldMk cId="2069120931" sldId="686"/>
            <ac:spMk id="42" creationId="{00000000-0000-0000-0000-000000000000}"/>
          </ac:spMkLst>
        </pc:spChg>
        <pc:spChg chg="add del mod topLvl">
          <ac:chgData name="Tristan MURATORE" userId="bba1d389-e75f-4912-b7b7-5ca422ed5333" providerId="ADAL" clId="{F11B1294-5997-4A19-8D57-C720954D46D0}" dt="2023-10-02T14:03:58.423" v="1561" actId="1076"/>
          <ac:spMkLst>
            <pc:docMk/>
            <pc:sldMk cId="2069120931" sldId="686"/>
            <ac:spMk id="43" creationId="{00000000-0000-0000-0000-000000000000}"/>
          </ac:spMkLst>
        </pc:spChg>
        <pc:spChg chg="add del">
          <ac:chgData name="Tristan MURATORE" userId="bba1d389-e75f-4912-b7b7-5ca422ed5333" providerId="ADAL" clId="{F11B1294-5997-4A19-8D57-C720954D46D0}" dt="2023-10-02T13:27:21.896" v="753" actId="478"/>
          <ac:spMkLst>
            <pc:docMk/>
            <pc:sldMk cId="2069120931" sldId="686"/>
            <ac:spMk id="44" creationId="{00000000-0000-0000-0000-000000000000}"/>
          </ac:spMkLst>
        </pc:spChg>
        <pc:spChg chg="add del">
          <ac:chgData name="Tristan MURATORE" userId="bba1d389-e75f-4912-b7b7-5ca422ed5333" providerId="ADAL" clId="{F11B1294-5997-4A19-8D57-C720954D46D0}" dt="2023-10-02T13:27:21.896" v="753" actId="478"/>
          <ac:spMkLst>
            <pc:docMk/>
            <pc:sldMk cId="2069120931" sldId="686"/>
            <ac:spMk id="45" creationId="{00000000-0000-0000-0000-000000000000}"/>
          </ac:spMkLst>
        </pc:spChg>
        <pc:grpChg chg="del mod">
          <ac:chgData name="Tristan MURATORE" userId="bba1d389-e75f-4912-b7b7-5ca422ed5333" providerId="ADAL" clId="{F11B1294-5997-4A19-8D57-C720954D46D0}" dt="2023-10-02T14:03:28.605" v="1475" actId="478"/>
          <ac:grpSpMkLst>
            <pc:docMk/>
            <pc:sldMk cId="2069120931" sldId="686"/>
            <ac:grpSpMk id="2" creationId="{00000000-0000-0000-0000-000000000000}"/>
          </ac:grpSpMkLst>
        </pc:grpChg>
        <pc:grpChg chg="add mod">
          <ac:chgData name="Tristan MURATORE" userId="bba1d389-e75f-4912-b7b7-5ca422ed5333" providerId="ADAL" clId="{F11B1294-5997-4A19-8D57-C720954D46D0}" dt="2023-10-02T14:04:23.315" v="1577" actId="12789"/>
          <ac:grpSpMkLst>
            <pc:docMk/>
            <pc:sldMk cId="2069120931" sldId="686"/>
            <ac:grpSpMk id="12" creationId="{1B5D7D78-3470-D3FC-59EE-0D0F805B088E}"/>
          </ac:grpSpMkLst>
        </pc:grpChg>
        <pc:grpChg chg="add del mod">
          <ac:chgData name="Tristan MURATORE" userId="bba1d389-e75f-4912-b7b7-5ca422ed5333" providerId="ADAL" clId="{F11B1294-5997-4A19-8D57-C720954D46D0}" dt="2023-10-02T14:03:28.605" v="1475" actId="478"/>
          <ac:grpSpMkLst>
            <pc:docMk/>
            <pc:sldMk cId="2069120931" sldId="686"/>
            <ac:grpSpMk id="26" creationId="{00000000-0000-0000-0000-000000000000}"/>
          </ac:grpSpMkLst>
        </pc:grpChg>
        <pc:grpChg chg="del mod">
          <ac:chgData name="Tristan MURATORE" userId="bba1d389-e75f-4912-b7b7-5ca422ed5333" providerId="ADAL" clId="{F11B1294-5997-4A19-8D57-C720954D46D0}" dt="2023-10-02T14:03:28.605" v="1475" actId="478"/>
          <ac:grpSpMkLst>
            <pc:docMk/>
            <pc:sldMk cId="2069120931" sldId="686"/>
            <ac:grpSpMk id="31" creationId="{00000000-0000-0000-0000-000000000000}"/>
          </ac:grpSpMkLst>
        </pc:grpChg>
        <pc:grpChg chg="del mod">
          <ac:chgData name="Tristan MURATORE" userId="bba1d389-e75f-4912-b7b7-5ca422ed5333" providerId="ADAL" clId="{F11B1294-5997-4A19-8D57-C720954D46D0}" dt="2023-10-02T13:31:05.699" v="785" actId="165"/>
          <ac:grpSpMkLst>
            <pc:docMk/>
            <pc:sldMk cId="2069120931" sldId="686"/>
            <ac:grpSpMk id="38" creationId="{00000000-0000-0000-0000-000000000000}"/>
          </ac:grpSpMkLst>
        </pc:grpChg>
        <pc:graphicFrameChg chg="add del modGraphic">
          <ac:chgData name="Tristan MURATORE" userId="bba1d389-e75f-4912-b7b7-5ca422ed5333" providerId="ADAL" clId="{F11B1294-5997-4A19-8D57-C720954D46D0}" dt="2023-10-02T13:32:17.492" v="878" actId="27309"/>
          <ac:graphicFrameMkLst>
            <pc:docMk/>
            <pc:sldMk cId="2069120931" sldId="686"/>
            <ac:graphicFrameMk id="11" creationId="{0C061E36-92C6-EE9E-4FC0-D8CCBAFC1D64}"/>
          </ac:graphicFrameMkLst>
        </pc:graphicFrameChg>
        <pc:picChg chg="add mod">
          <ac:chgData name="Tristan MURATORE" userId="bba1d389-e75f-4912-b7b7-5ca422ed5333" providerId="ADAL" clId="{F11B1294-5997-4A19-8D57-C720954D46D0}" dt="2023-10-02T14:03:58.423" v="1561" actId="1076"/>
          <ac:picMkLst>
            <pc:docMk/>
            <pc:sldMk cId="2069120931" sldId="686"/>
            <ac:picMk id="5" creationId="{C79D738E-2FB9-48E6-5B26-E453D58A294B}"/>
          </ac:picMkLst>
        </pc:picChg>
        <pc:picChg chg="add mod">
          <ac:chgData name="Tristan MURATORE" userId="bba1d389-e75f-4912-b7b7-5ca422ed5333" providerId="ADAL" clId="{F11B1294-5997-4A19-8D57-C720954D46D0}" dt="2023-10-02T14:03:58.423" v="1561" actId="1076"/>
          <ac:picMkLst>
            <pc:docMk/>
            <pc:sldMk cId="2069120931" sldId="686"/>
            <ac:picMk id="7" creationId="{24FD7C88-EAD8-CA47-6F61-F0602F03CDE3}"/>
          </ac:picMkLst>
        </pc:picChg>
        <pc:picChg chg="add mod">
          <ac:chgData name="Tristan MURATORE" userId="bba1d389-e75f-4912-b7b7-5ca422ed5333" providerId="ADAL" clId="{F11B1294-5997-4A19-8D57-C720954D46D0}" dt="2023-10-02T14:03:58.423" v="1561" actId="1076"/>
          <ac:picMkLst>
            <pc:docMk/>
            <pc:sldMk cId="2069120931" sldId="686"/>
            <ac:picMk id="9" creationId="{BCA95358-53FC-BF88-1320-BE44129308FE}"/>
          </ac:picMkLst>
        </pc:picChg>
        <pc:picChg chg="del mod modCrop">
          <ac:chgData name="Tristan MURATORE" userId="bba1d389-e75f-4912-b7b7-5ca422ed5333" providerId="ADAL" clId="{F11B1294-5997-4A19-8D57-C720954D46D0}" dt="2023-10-02T13:30:26.137" v="779" actId="478"/>
          <ac:picMkLst>
            <pc:docMk/>
            <pc:sldMk cId="2069120931" sldId="686"/>
            <ac:picMk id="46" creationId="{00000000-0000-0000-0000-000000000000}"/>
          </ac:picMkLst>
        </pc:picChg>
        <pc:picChg chg="del mod modCrop">
          <ac:chgData name="Tristan MURATORE" userId="bba1d389-e75f-4912-b7b7-5ca422ed5333" providerId="ADAL" clId="{F11B1294-5997-4A19-8D57-C720954D46D0}" dt="2023-10-02T13:30:26.137" v="779" actId="478"/>
          <ac:picMkLst>
            <pc:docMk/>
            <pc:sldMk cId="2069120931" sldId="686"/>
            <ac:picMk id="47" creationId="{00000000-0000-0000-0000-000000000000}"/>
          </ac:picMkLst>
        </pc:picChg>
        <pc:picChg chg="add del mod">
          <ac:chgData name="Tristan MURATORE" userId="bba1d389-e75f-4912-b7b7-5ca422ed5333" providerId="ADAL" clId="{F11B1294-5997-4A19-8D57-C720954D46D0}" dt="2023-10-02T13:30:26.137" v="779" actId="478"/>
          <ac:picMkLst>
            <pc:docMk/>
            <pc:sldMk cId="2069120931" sldId="686"/>
            <ac:picMk id="48" creationId="{00000000-0000-0000-0000-000000000000}"/>
          </ac:picMkLst>
        </pc:picChg>
        <pc:picChg chg="add del">
          <ac:chgData name="Tristan MURATORE" userId="bba1d389-e75f-4912-b7b7-5ca422ed5333" providerId="ADAL" clId="{F11B1294-5997-4A19-8D57-C720954D46D0}" dt="2023-10-02T13:27:21.896" v="753" actId="478"/>
          <ac:picMkLst>
            <pc:docMk/>
            <pc:sldMk cId="2069120931" sldId="686"/>
            <ac:picMk id="50" creationId="{00000000-0000-0000-0000-000000000000}"/>
          </ac:picMkLst>
        </pc:picChg>
        <pc:picChg chg="add del">
          <ac:chgData name="Tristan MURATORE" userId="bba1d389-e75f-4912-b7b7-5ca422ed5333" providerId="ADAL" clId="{F11B1294-5997-4A19-8D57-C720954D46D0}" dt="2023-10-02T13:27:21.896" v="753" actId="478"/>
          <ac:picMkLst>
            <pc:docMk/>
            <pc:sldMk cId="2069120931" sldId="686"/>
            <ac:picMk id="51" creationId="{00000000-0000-0000-0000-000000000000}"/>
          </ac:picMkLst>
        </pc:picChg>
      </pc:sldChg>
      <pc:sldChg chg="del">
        <pc:chgData name="Tristan MURATORE" userId="bba1d389-e75f-4912-b7b7-5ca422ed5333" providerId="ADAL" clId="{F11B1294-5997-4A19-8D57-C720954D46D0}" dt="2023-10-02T13:21:05.937" v="106" actId="47"/>
        <pc:sldMkLst>
          <pc:docMk/>
          <pc:sldMk cId="2657481096" sldId="753"/>
        </pc:sldMkLst>
      </pc:sldChg>
      <pc:sldChg chg="del">
        <pc:chgData name="Tristan MURATORE" userId="bba1d389-e75f-4912-b7b7-5ca422ed5333" providerId="ADAL" clId="{F11B1294-5997-4A19-8D57-C720954D46D0}" dt="2023-10-02T13:21:05.937" v="106" actId="47"/>
        <pc:sldMkLst>
          <pc:docMk/>
          <pc:sldMk cId="3713126185" sldId="754"/>
        </pc:sldMkLst>
      </pc:sldChg>
      <pc:sldChg chg="modSp new del mod">
        <pc:chgData name="Tristan MURATORE" userId="bba1d389-e75f-4912-b7b7-5ca422ed5333" providerId="ADAL" clId="{F11B1294-5997-4A19-8D57-C720954D46D0}" dt="2023-10-02T13:27:04.259" v="748" actId="47"/>
        <pc:sldMkLst>
          <pc:docMk/>
          <pc:sldMk cId="3331637239" sldId="2536"/>
        </pc:sldMkLst>
        <pc:spChg chg="mod">
          <ac:chgData name="Tristan MURATORE" userId="bba1d389-e75f-4912-b7b7-5ca422ed5333" providerId="ADAL" clId="{F11B1294-5997-4A19-8D57-C720954D46D0}" dt="2023-10-02T13:21:27.164" v="120" actId="20577"/>
          <ac:spMkLst>
            <pc:docMk/>
            <pc:sldMk cId="3331637239" sldId="2536"/>
            <ac:spMk id="2" creationId="{A49F95FE-B77E-8715-F93F-A98CC3B93E99}"/>
          </ac:spMkLst>
        </pc:spChg>
      </pc:sldChg>
      <pc:sldChg chg="modSp add del mod">
        <pc:chgData name="Tristan MURATORE" userId="bba1d389-e75f-4912-b7b7-5ca422ed5333" providerId="ADAL" clId="{F11B1294-5997-4A19-8D57-C720954D46D0}" dt="2023-10-02T13:26:42.826" v="746" actId="47"/>
        <pc:sldMkLst>
          <pc:docMk/>
          <pc:sldMk cId="3771394892" sldId="2537"/>
        </pc:sldMkLst>
        <pc:spChg chg="mod">
          <ac:chgData name="Tristan MURATORE" userId="bba1d389-e75f-4912-b7b7-5ca422ed5333" providerId="ADAL" clId="{F11B1294-5997-4A19-8D57-C720954D46D0}" dt="2023-10-02T13:21:37.641" v="155" actId="20577"/>
          <ac:spMkLst>
            <pc:docMk/>
            <pc:sldMk cId="3771394892" sldId="2537"/>
            <ac:spMk id="2" creationId="{A49F95FE-B77E-8715-F93F-A98CC3B93E99}"/>
          </ac:spMkLst>
        </pc:spChg>
      </pc:sldChg>
      <pc:sldChg chg="del">
        <pc:chgData name="Tristan MURATORE" userId="bba1d389-e75f-4912-b7b7-5ca422ed5333" providerId="ADAL" clId="{F11B1294-5997-4A19-8D57-C720954D46D0}" dt="2023-10-02T13:21:05.937" v="106" actId="47"/>
        <pc:sldMkLst>
          <pc:docMk/>
          <pc:sldMk cId="3811508127" sldId="2537"/>
        </pc:sldMkLst>
      </pc:sldChg>
      <pc:sldChg chg="addSp delSp modSp add mod">
        <pc:chgData name="Tristan MURATORE" userId="bba1d389-e75f-4912-b7b7-5ca422ed5333" providerId="ADAL" clId="{F11B1294-5997-4A19-8D57-C720954D46D0}" dt="2023-10-04T08:39:07.889" v="3424" actId="20577"/>
        <pc:sldMkLst>
          <pc:docMk/>
          <pc:sldMk cId="598050273" sldId="2538"/>
        </pc:sldMkLst>
        <pc:spChg chg="mod">
          <ac:chgData name="Tristan MURATORE" userId="bba1d389-e75f-4912-b7b7-5ca422ed5333" providerId="ADAL" clId="{F11B1294-5997-4A19-8D57-C720954D46D0}" dt="2023-10-02T14:06:59.348" v="1685" actId="20577"/>
          <ac:spMkLst>
            <pc:docMk/>
            <pc:sldMk cId="598050273" sldId="2538"/>
            <ac:spMk id="3" creationId="{8D1D15D6-9045-DC9B-00F6-05BC224465CE}"/>
          </ac:spMkLst>
        </pc:spChg>
        <pc:spChg chg="del">
          <ac:chgData name="Tristan MURATORE" userId="bba1d389-e75f-4912-b7b7-5ca422ed5333" providerId="ADAL" clId="{F11B1294-5997-4A19-8D57-C720954D46D0}" dt="2023-10-03T20:17:05.121" v="2259" actId="478"/>
          <ac:spMkLst>
            <pc:docMk/>
            <pc:sldMk cId="598050273" sldId="2538"/>
            <ac:spMk id="4" creationId="{963EF485-14ED-AD20-4ACC-319257EEF338}"/>
          </ac:spMkLst>
        </pc:spChg>
        <pc:spChg chg="del">
          <ac:chgData name="Tristan MURATORE" userId="bba1d389-e75f-4912-b7b7-5ca422ed5333" providerId="ADAL" clId="{F11B1294-5997-4A19-8D57-C720954D46D0}" dt="2023-10-03T19:55:34.852" v="1885" actId="478"/>
          <ac:spMkLst>
            <pc:docMk/>
            <pc:sldMk cId="598050273" sldId="2538"/>
            <ac:spMk id="5" creationId="{34A323A7-99A3-1E53-39DE-D1BEA37BC572}"/>
          </ac:spMkLst>
        </pc:spChg>
        <pc:spChg chg="del">
          <ac:chgData name="Tristan MURATORE" userId="bba1d389-e75f-4912-b7b7-5ca422ed5333" providerId="ADAL" clId="{F11B1294-5997-4A19-8D57-C720954D46D0}" dt="2023-10-03T19:55:34.852" v="1885" actId="478"/>
          <ac:spMkLst>
            <pc:docMk/>
            <pc:sldMk cId="598050273" sldId="2538"/>
            <ac:spMk id="6" creationId="{B3C69F19-A1AE-41A4-B67D-64596CF24764}"/>
          </ac:spMkLst>
        </pc:spChg>
        <pc:spChg chg="del">
          <ac:chgData name="Tristan MURATORE" userId="bba1d389-e75f-4912-b7b7-5ca422ed5333" providerId="ADAL" clId="{F11B1294-5997-4A19-8D57-C720954D46D0}" dt="2023-10-03T20:17:05.121" v="2259" actId="478"/>
          <ac:spMkLst>
            <pc:docMk/>
            <pc:sldMk cId="598050273" sldId="2538"/>
            <ac:spMk id="7" creationId="{00B7EBCD-77C0-419E-88BC-32834AA39976}"/>
          </ac:spMkLst>
        </pc:spChg>
        <pc:spChg chg="add del mod">
          <ac:chgData name="Tristan MURATORE" userId="bba1d389-e75f-4912-b7b7-5ca422ed5333" providerId="ADAL" clId="{F11B1294-5997-4A19-8D57-C720954D46D0}" dt="2023-10-02T13:22:35.741" v="184" actId="478"/>
          <ac:spMkLst>
            <pc:docMk/>
            <pc:sldMk cId="598050273" sldId="2538"/>
            <ac:spMk id="8" creationId="{CC5F5861-8126-6B3C-7910-2304FFC0417A}"/>
          </ac:spMkLst>
        </pc:spChg>
        <pc:spChg chg="add mod or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8" creationId="{FB178CA6-AD34-4EEA-F147-48C34B8D8D87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9" creationId="{0BE16CB3-67B5-F60E-7134-88C3322157B8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10" creationId="{50A493EA-D397-1C39-8F2F-5B5C92BE8BB6}"/>
          </ac:spMkLst>
        </pc:spChg>
        <pc:spChg chg="add mod">
          <ac:chgData name="Tristan MURATORE" userId="bba1d389-e75f-4912-b7b7-5ca422ed5333" providerId="ADAL" clId="{F11B1294-5997-4A19-8D57-C720954D46D0}" dt="2023-10-04T08:35:52.551" v="3215" actId="20577"/>
          <ac:spMkLst>
            <pc:docMk/>
            <pc:sldMk cId="598050273" sldId="2538"/>
            <ac:spMk id="11" creationId="{15F87CDA-3CF2-08FE-A06E-063EA85CEB7B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12" creationId="{F57A0E11-FDA3-215F-F7C1-7F14C083CB26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13" creationId="{2FE0B34E-76AC-B0FB-0FFB-0851FE34E963}"/>
          </ac:spMkLst>
        </pc:spChg>
        <pc:spChg chg="add del mod">
          <ac:chgData name="Tristan MURATORE" userId="bba1d389-e75f-4912-b7b7-5ca422ed5333" providerId="ADAL" clId="{F11B1294-5997-4A19-8D57-C720954D46D0}" dt="2023-10-02T13:57:44.237" v="1451" actId="21"/>
          <ac:spMkLst>
            <pc:docMk/>
            <pc:sldMk cId="598050273" sldId="2538"/>
            <ac:spMk id="13" creationId="{E458E9F3-C7EF-3ED1-1997-BC0509533740}"/>
          </ac:spMkLst>
        </pc:spChg>
        <pc:spChg chg="add del mod">
          <ac:chgData name="Tristan MURATORE" userId="bba1d389-e75f-4912-b7b7-5ca422ed5333" providerId="ADAL" clId="{F11B1294-5997-4A19-8D57-C720954D46D0}" dt="2023-10-02T13:57:44.237" v="1451" actId="21"/>
          <ac:spMkLst>
            <pc:docMk/>
            <pc:sldMk cId="598050273" sldId="2538"/>
            <ac:spMk id="14" creationId="{8D2700D8-36B3-F753-F2DC-E6759A95FBDD}"/>
          </ac:spMkLst>
        </pc:spChg>
        <pc:spChg chg="add mod">
          <ac:chgData name="Tristan MURATORE" userId="bba1d389-e75f-4912-b7b7-5ca422ed5333" providerId="ADAL" clId="{F11B1294-5997-4A19-8D57-C720954D46D0}" dt="2023-10-04T08:39:07.889" v="3424" actId="20577"/>
          <ac:spMkLst>
            <pc:docMk/>
            <pc:sldMk cId="598050273" sldId="2538"/>
            <ac:spMk id="15" creationId="{FD88F44D-7348-709F-54B6-643E49427BDD}"/>
          </ac:spMkLst>
        </pc:spChg>
        <pc:spChg chg="add mod">
          <ac:chgData name="Tristan MURATORE" userId="bba1d389-e75f-4912-b7b7-5ca422ed5333" providerId="ADAL" clId="{F11B1294-5997-4A19-8D57-C720954D46D0}" dt="2023-10-03T20:34:40.799" v="2961" actId="20577"/>
          <ac:spMkLst>
            <pc:docMk/>
            <pc:sldMk cId="598050273" sldId="2538"/>
            <ac:spMk id="16" creationId="{9B479C73-1816-5E65-DAC3-F47FC6DB8164}"/>
          </ac:spMkLst>
        </pc:spChg>
        <pc:spChg chg="add mod">
          <ac:chgData name="Tristan MURATORE" userId="bba1d389-e75f-4912-b7b7-5ca422ed5333" providerId="ADAL" clId="{F11B1294-5997-4A19-8D57-C720954D46D0}" dt="2023-10-04T08:38:13.496" v="3302" actId="20577"/>
          <ac:spMkLst>
            <pc:docMk/>
            <pc:sldMk cId="598050273" sldId="2538"/>
            <ac:spMk id="17" creationId="{A3DA0DB1-9AED-4E87-13EC-714796146952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18" creationId="{DBD72E09-1AF9-01A1-6A87-66AA35D01663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19" creationId="{4E8B70AB-C6CF-C4D5-8C92-800832F47321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21" creationId="{622A1270-9638-193F-45A1-AC253A720F99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22" creationId="{35C06D47-57FE-6D04-65EF-1577CC9221CC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23" creationId="{78DF3EEB-3820-F8FE-F252-BC28DC0D0A25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24" creationId="{C66E157D-335C-9B6E-E843-73CF0AE8B23F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25" creationId="{10CCA06B-DCDE-AB0E-CAD2-05D0C7B87ED3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26" creationId="{2AA15027-F0CB-D374-C6B7-E279990FC3F3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28" creationId="{BDC54EE0-14D2-76E3-0447-EEE3D0527767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30" creationId="{BAD1749D-1C1E-A604-4A8D-2F25C2B68162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31" creationId="{AD718315-9699-9ED4-7D31-44951DEEE95C}"/>
          </ac:spMkLst>
        </pc:spChg>
        <pc:spChg chg="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32" creationId="{8A37F8D0-D203-FF7F-97D4-C9236BD494B9}"/>
          </ac:spMkLst>
        </pc:spChg>
        <pc:spChg chg="add del mod">
          <ac:chgData name="Tristan MURATORE" userId="bba1d389-e75f-4912-b7b7-5ca422ed5333" providerId="ADAL" clId="{F11B1294-5997-4A19-8D57-C720954D46D0}" dt="2023-10-03T19:52:51.841" v="1848"/>
          <ac:spMkLst>
            <pc:docMk/>
            <pc:sldMk cId="598050273" sldId="2538"/>
            <ac:spMk id="34" creationId="{AA7B5715-BA00-8F3D-65AA-E71494DD99B0}"/>
          </ac:spMkLst>
        </pc:spChg>
        <pc:spChg chg="add del mod">
          <ac:chgData name="Tristan MURATORE" userId="bba1d389-e75f-4912-b7b7-5ca422ed5333" providerId="ADAL" clId="{F11B1294-5997-4A19-8D57-C720954D46D0}" dt="2023-10-03T19:52:51.841" v="1848"/>
          <ac:spMkLst>
            <pc:docMk/>
            <pc:sldMk cId="598050273" sldId="2538"/>
            <ac:spMk id="35" creationId="{B7C718FE-00D8-7948-E5A8-68E785308FB9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36" creationId="{8CCF5BC1-49A2-BE7E-F847-39426118BA95}"/>
          </ac:spMkLst>
        </pc:spChg>
        <pc:spChg chg="add mod">
          <ac:chgData name="Tristan MURATORE" userId="bba1d389-e75f-4912-b7b7-5ca422ed5333" providerId="ADAL" clId="{F11B1294-5997-4A19-8D57-C720954D46D0}" dt="2023-10-03T20:17:59.002" v="2356" actId="1076"/>
          <ac:spMkLst>
            <pc:docMk/>
            <pc:sldMk cId="598050273" sldId="2538"/>
            <ac:spMk id="37" creationId="{7BE3939B-1103-CF47-0CD5-7691A1598241}"/>
          </ac:spMkLst>
        </pc:spChg>
        <pc:spChg chg="add mod">
          <ac:chgData name="Tristan MURATORE" userId="bba1d389-e75f-4912-b7b7-5ca422ed5333" providerId="ADAL" clId="{F11B1294-5997-4A19-8D57-C720954D46D0}" dt="2023-10-03T20:17:53.931" v="2355" actId="1076"/>
          <ac:spMkLst>
            <pc:docMk/>
            <pc:sldMk cId="598050273" sldId="2538"/>
            <ac:spMk id="39" creationId="{A7107ABC-1AA7-81BC-8651-F2F27183FA96}"/>
          </ac:spMkLst>
        </pc:spChg>
        <pc:grpChg chg="add mod">
          <ac:chgData name="Tristan MURATORE" userId="bba1d389-e75f-4912-b7b7-5ca422ed5333" providerId="ADAL" clId="{F11B1294-5997-4A19-8D57-C720954D46D0}" dt="2023-10-03T20:17:59.002" v="2356" actId="1076"/>
          <ac:grpSpMkLst>
            <pc:docMk/>
            <pc:sldMk cId="598050273" sldId="2538"/>
            <ac:grpSpMk id="14" creationId="{43BE3D81-B419-69DC-FF76-7F23CDC0B390}"/>
          </ac:grpSpMkLst>
        </pc:grpChg>
        <pc:grpChg chg="add mod">
          <ac:chgData name="Tristan MURATORE" userId="bba1d389-e75f-4912-b7b7-5ca422ed5333" providerId="ADAL" clId="{F11B1294-5997-4A19-8D57-C720954D46D0}" dt="2023-10-03T20:17:59.002" v="2356" actId="1076"/>
          <ac:grpSpMkLst>
            <pc:docMk/>
            <pc:sldMk cId="598050273" sldId="2538"/>
            <ac:grpSpMk id="20" creationId="{3D1C6E2B-7D10-ECE1-6055-E4A24846EA5A}"/>
          </ac:grpSpMkLst>
        </pc:grpChg>
        <pc:grpChg chg="add mod">
          <ac:chgData name="Tristan MURATORE" userId="bba1d389-e75f-4912-b7b7-5ca422ed5333" providerId="ADAL" clId="{F11B1294-5997-4A19-8D57-C720954D46D0}" dt="2023-10-03T20:17:59.002" v="2356" actId="1076"/>
          <ac:grpSpMkLst>
            <pc:docMk/>
            <pc:sldMk cId="598050273" sldId="2538"/>
            <ac:grpSpMk id="27" creationId="{B7EDF99D-DED1-BFD1-61DF-9E01CD534C0E}"/>
          </ac:grpSpMkLst>
        </pc:grpChg>
        <pc:grpChg chg="add mod">
          <ac:chgData name="Tristan MURATORE" userId="bba1d389-e75f-4912-b7b7-5ca422ed5333" providerId="ADAL" clId="{F11B1294-5997-4A19-8D57-C720954D46D0}" dt="2023-10-03T20:17:59.002" v="2356" actId="1076"/>
          <ac:grpSpMkLst>
            <pc:docMk/>
            <pc:sldMk cId="598050273" sldId="2538"/>
            <ac:grpSpMk id="29" creationId="{3024B0FD-C39C-4A7C-36CB-96B63F699F95}"/>
          </ac:grpSpMkLst>
        </pc:grpChg>
        <pc:grpChg chg="add mod">
          <ac:chgData name="Tristan MURATORE" userId="bba1d389-e75f-4912-b7b7-5ca422ed5333" providerId="ADAL" clId="{F11B1294-5997-4A19-8D57-C720954D46D0}" dt="2023-10-03T20:17:59.002" v="2356" actId="1076"/>
          <ac:grpSpMkLst>
            <pc:docMk/>
            <pc:sldMk cId="598050273" sldId="2538"/>
            <ac:grpSpMk id="33" creationId="{820D8BAB-A120-1FE0-B57A-5368407CF2C3}"/>
          </ac:grpSpMkLst>
        </pc:grpChg>
        <pc:grpChg chg="add mod">
          <ac:chgData name="Tristan MURATORE" userId="bba1d389-e75f-4912-b7b7-5ca422ed5333" providerId="ADAL" clId="{F11B1294-5997-4A19-8D57-C720954D46D0}" dt="2023-10-03T20:17:59.002" v="2356" actId="1076"/>
          <ac:grpSpMkLst>
            <pc:docMk/>
            <pc:sldMk cId="598050273" sldId="2538"/>
            <ac:grpSpMk id="38" creationId="{142C24FA-CD12-35FB-0BF6-83F9F1DBD5E4}"/>
          </ac:grpSpMkLst>
        </pc:grpChg>
      </pc:sldChg>
      <pc:sldChg chg="addSp delSp modSp add mod ord">
        <pc:chgData name="Tristan MURATORE" userId="bba1d389-e75f-4912-b7b7-5ca422ed5333" providerId="ADAL" clId="{F11B1294-5997-4A19-8D57-C720954D46D0}" dt="2023-10-04T08:22:04.589" v="3024" actId="20577"/>
        <pc:sldMkLst>
          <pc:docMk/>
          <pc:sldMk cId="686853897" sldId="2539"/>
        </pc:sldMkLst>
        <pc:spChg chg="mod">
          <ac:chgData name="Tristan MURATORE" userId="bba1d389-e75f-4912-b7b7-5ca422ed5333" providerId="ADAL" clId="{F11B1294-5997-4A19-8D57-C720954D46D0}" dt="2023-10-02T13:34:22.372" v="958" actId="20577"/>
          <ac:spMkLst>
            <pc:docMk/>
            <pc:sldMk cId="686853897" sldId="2539"/>
            <ac:spMk id="2" creationId="{A49F95FE-B77E-8715-F93F-A98CC3B93E99}"/>
          </ac:spMkLst>
        </pc:spChg>
        <pc:spChg chg="del">
          <ac:chgData name="Tristan MURATORE" userId="bba1d389-e75f-4912-b7b7-5ca422ed5333" providerId="ADAL" clId="{F11B1294-5997-4A19-8D57-C720954D46D0}" dt="2023-10-03T20:25:01.255" v="2665" actId="478"/>
          <ac:spMkLst>
            <pc:docMk/>
            <pc:sldMk cId="686853897" sldId="2539"/>
            <ac:spMk id="3" creationId="{8D1D15D6-9045-DC9B-00F6-05BC224465CE}"/>
          </ac:spMkLst>
        </pc:spChg>
        <pc:spChg chg="del">
          <ac:chgData name="Tristan MURATORE" userId="bba1d389-e75f-4912-b7b7-5ca422ed5333" providerId="ADAL" clId="{F11B1294-5997-4A19-8D57-C720954D46D0}" dt="2023-10-03T20:20:31.705" v="2450" actId="478"/>
          <ac:spMkLst>
            <pc:docMk/>
            <pc:sldMk cId="686853897" sldId="2539"/>
            <ac:spMk id="4" creationId="{963EF485-14ED-AD20-4ACC-319257EEF338}"/>
          </ac:spMkLst>
        </pc:spChg>
        <pc:spChg chg="del">
          <ac:chgData name="Tristan MURATORE" userId="bba1d389-e75f-4912-b7b7-5ca422ed5333" providerId="ADAL" clId="{F11B1294-5997-4A19-8D57-C720954D46D0}" dt="2023-10-03T20:27:23.828" v="2745" actId="478"/>
          <ac:spMkLst>
            <pc:docMk/>
            <pc:sldMk cId="686853897" sldId="2539"/>
            <ac:spMk id="5" creationId="{34A323A7-99A3-1E53-39DE-D1BEA37BC572}"/>
          </ac:spMkLst>
        </pc:spChg>
        <pc:spChg chg="del">
          <ac:chgData name="Tristan MURATORE" userId="bba1d389-e75f-4912-b7b7-5ca422ed5333" providerId="ADAL" clId="{F11B1294-5997-4A19-8D57-C720954D46D0}" dt="2023-10-03T20:27:23.828" v="2745" actId="478"/>
          <ac:spMkLst>
            <pc:docMk/>
            <pc:sldMk cId="686853897" sldId="2539"/>
            <ac:spMk id="6" creationId="{B3C69F19-A1AE-41A4-B67D-64596CF24764}"/>
          </ac:spMkLst>
        </pc:spChg>
        <pc:spChg chg="del">
          <ac:chgData name="Tristan MURATORE" userId="bba1d389-e75f-4912-b7b7-5ca422ed5333" providerId="ADAL" clId="{F11B1294-5997-4A19-8D57-C720954D46D0}" dt="2023-10-03T20:20:31.705" v="2450" actId="478"/>
          <ac:spMkLst>
            <pc:docMk/>
            <pc:sldMk cId="686853897" sldId="2539"/>
            <ac:spMk id="7" creationId="{00B7EBCD-77C0-419E-88BC-32834AA39976}"/>
          </ac:spMkLst>
        </pc:spChg>
        <pc:spChg chg="add mod">
          <ac:chgData name="Tristan MURATORE" userId="bba1d389-e75f-4912-b7b7-5ca422ed5333" providerId="ADAL" clId="{F11B1294-5997-4A19-8D57-C720954D46D0}" dt="2023-10-03T20:26:51.013" v="2712" actId="14100"/>
          <ac:spMkLst>
            <pc:docMk/>
            <pc:sldMk cId="686853897" sldId="2539"/>
            <ac:spMk id="8" creationId="{1F4B4416-92D8-E8F4-B97B-999CF4DC864D}"/>
          </ac:spMkLst>
        </pc:spChg>
        <pc:spChg chg="del">
          <ac:chgData name="Tristan MURATORE" userId="bba1d389-e75f-4912-b7b7-5ca422ed5333" providerId="ADAL" clId="{F11B1294-5997-4A19-8D57-C720954D46D0}" dt="2023-10-02T13:32:56.768" v="912" actId="478"/>
          <ac:spMkLst>
            <pc:docMk/>
            <pc:sldMk cId="686853897" sldId="2539"/>
            <ac:spMk id="8" creationId="{CC5F5861-8126-6B3C-7910-2304FFC0417A}"/>
          </ac:spMkLst>
        </pc:spChg>
        <pc:spChg chg="add mod">
          <ac:chgData name="Tristan MURATORE" userId="bba1d389-e75f-4912-b7b7-5ca422ed5333" providerId="ADAL" clId="{F11B1294-5997-4A19-8D57-C720954D46D0}" dt="2023-10-03T20:26:51.013" v="2712" actId="14100"/>
          <ac:spMkLst>
            <pc:docMk/>
            <pc:sldMk cId="686853897" sldId="2539"/>
            <ac:spMk id="9" creationId="{C7E69E75-7228-D900-AC17-EAA9527FE9EB}"/>
          </ac:spMkLst>
        </pc:spChg>
        <pc:spChg chg="add mod">
          <ac:chgData name="Tristan MURATORE" userId="bba1d389-e75f-4912-b7b7-5ca422ed5333" providerId="ADAL" clId="{F11B1294-5997-4A19-8D57-C720954D46D0}" dt="2023-10-03T20:26:51.013" v="2712" actId="14100"/>
          <ac:spMkLst>
            <pc:docMk/>
            <pc:sldMk cId="686853897" sldId="2539"/>
            <ac:spMk id="10" creationId="{747CEB2C-AF2F-D614-B6BB-A8C7C1C749AA}"/>
          </ac:spMkLst>
        </pc:spChg>
        <pc:spChg chg="add del mod">
          <ac:chgData name="Tristan MURATORE" userId="bba1d389-e75f-4912-b7b7-5ca422ed5333" providerId="ADAL" clId="{F11B1294-5997-4A19-8D57-C720954D46D0}" dt="2023-10-02T13:34:02.198" v="937" actId="478"/>
          <ac:spMkLst>
            <pc:docMk/>
            <pc:sldMk cId="686853897" sldId="2539"/>
            <ac:spMk id="10" creationId="{8B566034-7AD8-BADD-A987-13F95608FD0C}"/>
          </ac:spMkLst>
        </pc:spChg>
        <pc:spChg chg="add del mod">
          <ac:chgData name="Tristan MURATORE" userId="bba1d389-e75f-4912-b7b7-5ca422ed5333" providerId="ADAL" clId="{F11B1294-5997-4A19-8D57-C720954D46D0}" dt="2023-10-03T20:20:37.039" v="2452" actId="478"/>
          <ac:spMkLst>
            <pc:docMk/>
            <pc:sldMk cId="686853897" sldId="2539"/>
            <ac:spMk id="11" creationId="{D3B73879-0E78-4C3D-8553-8B108AC66B58}"/>
          </ac:spMkLst>
        </pc:spChg>
        <pc:spChg chg="add del mod">
          <ac:chgData name="Tristan MURATORE" userId="bba1d389-e75f-4912-b7b7-5ca422ed5333" providerId="ADAL" clId="{F11B1294-5997-4A19-8D57-C720954D46D0}" dt="2023-10-03T20:20:37.039" v="2452" actId="478"/>
          <ac:spMkLst>
            <pc:docMk/>
            <pc:sldMk cId="686853897" sldId="2539"/>
            <ac:spMk id="12" creationId="{B3DC4892-F1EE-76EE-DF24-5DF2F344D8B9}"/>
          </ac:spMkLst>
        </pc:spChg>
        <pc:spChg chg="add del mod">
          <ac:chgData name="Tristan MURATORE" userId="bba1d389-e75f-4912-b7b7-5ca422ed5333" providerId="ADAL" clId="{F11B1294-5997-4A19-8D57-C720954D46D0}" dt="2023-10-03T20:19:26.697" v="2423" actId="478"/>
          <ac:spMkLst>
            <pc:docMk/>
            <pc:sldMk cId="686853897" sldId="2539"/>
            <ac:spMk id="13" creationId="{CD2A938C-4037-3B58-EEDF-388E48E7355B}"/>
          </ac:spMkLst>
        </pc:spChg>
        <pc:spChg chg="add del mod">
          <ac:chgData name="Tristan MURATORE" userId="bba1d389-e75f-4912-b7b7-5ca422ed5333" providerId="ADAL" clId="{F11B1294-5997-4A19-8D57-C720954D46D0}" dt="2023-10-03T20:19:46.911" v="2424" actId="478"/>
          <ac:spMkLst>
            <pc:docMk/>
            <pc:sldMk cId="686853897" sldId="2539"/>
            <ac:spMk id="14" creationId="{03FA899D-253D-9155-4E51-447928BAA1C4}"/>
          </ac:spMkLst>
        </pc:spChg>
        <pc:spChg chg="add del mod">
          <ac:chgData name="Tristan MURATORE" userId="bba1d389-e75f-4912-b7b7-5ca422ed5333" providerId="ADAL" clId="{F11B1294-5997-4A19-8D57-C720954D46D0}" dt="2023-10-03T20:19:46.911" v="2424" actId="478"/>
          <ac:spMkLst>
            <pc:docMk/>
            <pc:sldMk cId="686853897" sldId="2539"/>
            <ac:spMk id="15" creationId="{1939910F-20C1-9C35-0D71-776E238836D9}"/>
          </ac:spMkLst>
        </pc:spChg>
        <pc:spChg chg="add del mod">
          <ac:chgData name="Tristan MURATORE" userId="bba1d389-e75f-4912-b7b7-5ca422ed5333" providerId="ADAL" clId="{F11B1294-5997-4A19-8D57-C720954D46D0}" dt="2023-10-03T20:19:46.911" v="2424" actId="478"/>
          <ac:spMkLst>
            <pc:docMk/>
            <pc:sldMk cId="686853897" sldId="2539"/>
            <ac:spMk id="16" creationId="{45B02B08-B163-5DCC-6926-E5772B8492CC}"/>
          </ac:spMkLst>
        </pc:spChg>
        <pc:spChg chg="add del mod">
          <ac:chgData name="Tristan MURATORE" userId="bba1d389-e75f-4912-b7b7-5ca422ed5333" providerId="ADAL" clId="{F11B1294-5997-4A19-8D57-C720954D46D0}" dt="2023-10-03T20:19:46.911" v="2424" actId="478"/>
          <ac:spMkLst>
            <pc:docMk/>
            <pc:sldMk cId="686853897" sldId="2539"/>
            <ac:spMk id="17" creationId="{7781ED1D-EFB5-BF52-AAAF-93E8F38790E6}"/>
          </ac:spMkLst>
        </pc:spChg>
        <pc:spChg chg="add del mod">
          <ac:chgData name="Tristan MURATORE" userId="bba1d389-e75f-4912-b7b7-5ca422ed5333" providerId="ADAL" clId="{F11B1294-5997-4A19-8D57-C720954D46D0}" dt="2023-10-02T13:35:52.284" v="1119" actId="478"/>
          <ac:spMkLst>
            <pc:docMk/>
            <pc:sldMk cId="686853897" sldId="2539"/>
            <ac:spMk id="18" creationId="{CAB1204E-36EF-2446-A1FE-0E09B47F9AE1}"/>
          </ac:spMkLst>
        </pc:spChg>
        <pc:spChg chg="add mod">
          <ac:chgData name="Tristan MURATORE" userId="bba1d389-e75f-4912-b7b7-5ca422ed5333" providerId="ADAL" clId="{F11B1294-5997-4A19-8D57-C720954D46D0}" dt="2023-10-03T20:27:40.089" v="2747" actId="790"/>
          <ac:spMkLst>
            <pc:docMk/>
            <pc:sldMk cId="686853897" sldId="2539"/>
            <ac:spMk id="18" creationId="{E8B25EDB-49E2-E49F-67AF-4159D5CA75BB}"/>
          </ac:spMkLst>
        </pc:spChg>
        <pc:spChg chg="add del mod">
          <ac:chgData name="Tristan MURATORE" userId="bba1d389-e75f-4912-b7b7-5ca422ed5333" providerId="ADAL" clId="{F11B1294-5997-4A19-8D57-C720954D46D0}" dt="2023-10-02T13:36:06.694" v="1122" actId="21"/>
          <ac:spMkLst>
            <pc:docMk/>
            <pc:sldMk cId="686853897" sldId="2539"/>
            <ac:spMk id="19" creationId="{26CAD8A1-BB58-1353-06B5-91B669DB9C7D}"/>
          </ac:spMkLst>
        </pc:spChg>
        <pc:spChg chg="add mod">
          <ac:chgData name="Tristan MURATORE" userId="bba1d389-e75f-4912-b7b7-5ca422ed5333" providerId="ADAL" clId="{F11B1294-5997-4A19-8D57-C720954D46D0}" dt="2023-10-03T20:35:06.653" v="3001" actId="14100"/>
          <ac:spMkLst>
            <pc:docMk/>
            <pc:sldMk cId="686853897" sldId="2539"/>
            <ac:spMk id="19" creationId="{89DCCE1C-3B2E-EFC6-2F84-CE28ACCEE2F0}"/>
          </ac:spMkLst>
        </pc:spChg>
        <pc:spChg chg="add mod">
          <ac:chgData name="Tristan MURATORE" userId="bba1d389-e75f-4912-b7b7-5ca422ed5333" providerId="ADAL" clId="{F11B1294-5997-4A19-8D57-C720954D46D0}" dt="2023-10-03T20:27:40.089" v="2747" actId="790"/>
          <ac:spMkLst>
            <pc:docMk/>
            <pc:sldMk cId="686853897" sldId="2539"/>
            <ac:spMk id="20" creationId="{F1F69154-42A5-7A02-56F3-128A75320C43}"/>
          </ac:spMkLst>
        </pc:spChg>
        <pc:spChg chg="add del mod">
          <ac:chgData name="Tristan MURATORE" userId="bba1d389-e75f-4912-b7b7-5ca422ed5333" providerId="ADAL" clId="{F11B1294-5997-4A19-8D57-C720954D46D0}" dt="2023-10-02T14:14:37.029" v="1704"/>
          <ac:spMkLst>
            <pc:docMk/>
            <pc:sldMk cId="686853897" sldId="2539"/>
            <ac:spMk id="21" creationId="{043E7D60-EBDE-815B-D970-27FBC538C17D}"/>
          </ac:spMkLst>
        </pc:spChg>
        <pc:spChg chg="add del">
          <ac:chgData name="Tristan MURATORE" userId="bba1d389-e75f-4912-b7b7-5ca422ed5333" providerId="ADAL" clId="{F11B1294-5997-4A19-8D57-C720954D46D0}" dt="2023-10-03T20:22:21.686" v="2553"/>
          <ac:spMkLst>
            <pc:docMk/>
            <pc:sldMk cId="686853897" sldId="2539"/>
            <ac:spMk id="21" creationId="{CD49CC47-5F64-B3FC-8FBD-EE7C04C02E46}"/>
          </ac:spMkLst>
        </pc:spChg>
        <pc:spChg chg="add del">
          <ac:chgData name="Tristan MURATORE" userId="bba1d389-e75f-4912-b7b7-5ca422ed5333" providerId="ADAL" clId="{F11B1294-5997-4A19-8D57-C720954D46D0}" dt="2023-10-03T20:24:29.340" v="2650"/>
          <ac:spMkLst>
            <pc:docMk/>
            <pc:sldMk cId="686853897" sldId="2539"/>
            <ac:spMk id="22" creationId="{6354A304-9175-3185-764C-81C0DFE8B32C}"/>
          </ac:spMkLst>
        </pc:spChg>
        <pc:spChg chg="add del">
          <ac:chgData name="Tristan MURATORE" userId="bba1d389-e75f-4912-b7b7-5ca422ed5333" providerId="ADAL" clId="{F11B1294-5997-4A19-8D57-C720954D46D0}" dt="2023-10-02T14:14:46.362" v="1709" actId="22"/>
          <ac:spMkLst>
            <pc:docMk/>
            <pc:sldMk cId="686853897" sldId="2539"/>
            <ac:spMk id="23" creationId="{263EA4FB-1FF6-80FA-D69A-0A07DC1445DC}"/>
          </ac:spMkLst>
        </pc:spChg>
        <pc:spChg chg="add del mod">
          <ac:chgData name="Tristan MURATORE" userId="bba1d389-e75f-4912-b7b7-5ca422ed5333" providerId="ADAL" clId="{F11B1294-5997-4A19-8D57-C720954D46D0}" dt="2023-10-03T20:19:46.911" v="2424" actId="478"/>
          <ac:spMkLst>
            <pc:docMk/>
            <pc:sldMk cId="686853897" sldId="2539"/>
            <ac:spMk id="24" creationId="{636BFB5C-18D9-8BE8-BC31-FD99A63CBB34}"/>
          </ac:spMkLst>
        </pc:spChg>
        <pc:spChg chg="add mod">
          <ac:chgData name="Tristan MURATORE" userId="bba1d389-e75f-4912-b7b7-5ca422ed5333" providerId="ADAL" clId="{F11B1294-5997-4A19-8D57-C720954D46D0}" dt="2023-10-04T08:22:04.589" v="3024" actId="20577"/>
          <ac:spMkLst>
            <pc:docMk/>
            <pc:sldMk cId="686853897" sldId="2539"/>
            <ac:spMk id="25" creationId="{3DCA19D1-0C9B-B0C5-6D17-42E398D3E78A}"/>
          </ac:spMkLst>
        </pc:spChg>
        <pc:spChg chg="add mod">
          <ac:chgData name="Tristan MURATORE" userId="bba1d389-e75f-4912-b7b7-5ca422ed5333" providerId="ADAL" clId="{F11B1294-5997-4A19-8D57-C720954D46D0}" dt="2023-10-03T20:35:10.513" v="3002" actId="1076"/>
          <ac:spMkLst>
            <pc:docMk/>
            <pc:sldMk cId="686853897" sldId="2539"/>
            <ac:spMk id="27" creationId="{15CC6683-2045-5078-5571-C822E4CD5025}"/>
          </ac:spMkLst>
        </pc:spChg>
      </pc:sldChg>
      <pc:sldChg chg="addSp delSp modSp add mod ord">
        <pc:chgData name="Tristan MURATORE" userId="bba1d389-e75f-4912-b7b7-5ca422ed5333" providerId="ADAL" clId="{F11B1294-5997-4A19-8D57-C720954D46D0}" dt="2023-10-03T20:18:22.737" v="2402" actId="20577"/>
        <pc:sldMkLst>
          <pc:docMk/>
          <pc:sldMk cId="3549625812" sldId="2540"/>
        </pc:sldMkLst>
        <pc:spChg chg="mod">
          <ac:chgData name="Tristan MURATORE" userId="bba1d389-e75f-4912-b7b7-5ca422ed5333" providerId="ADAL" clId="{F11B1294-5997-4A19-8D57-C720954D46D0}" dt="2023-10-03T19:55:45.194" v="1900" actId="20577"/>
          <ac:spMkLst>
            <pc:docMk/>
            <pc:sldMk cId="3549625812" sldId="2540"/>
            <ac:spMk id="2" creationId="{A49F95FE-B77E-8715-F93F-A98CC3B93E99}"/>
          </ac:spMkLst>
        </pc:spChg>
        <pc:spChg chg="del">
          <ac:chgData name="Tristan MURATORE" userId="bba1d389-e75f-4912-b7b7-5ca422ed5333" providerId="ADAL" clId="{F11B1294-5997-4A19-8D57-C720954D46D0}" dt="2023-10-03T20:16:53.714" v="2256" actId="478"/>
          <ac:spMkLst>
            <pc:docMk/>
            <pc:sldMk cId="3549625812" sldId="2540"/>
            <ac:spMk id="3" creationId="{8D1D15D6-9045-DC9B-00F6-05BC224465CE}"/>
          </ac:spMkLst>
        </pc:spChg>
        <pc:spChg chg="del">
          <ac:chgData name="Tristan MURATORE" userId="bba1d389-e75f-4912-b7b7-5ca422ed5333" providerId="ADAL" clId="{F11B1294-5997-4A19-8D57-C720954D46D0}" dt="2023-10-03T20:16:55.168" v="2257" actId="478"/>
          <ac:spMkLst>
            <pc:docMk/>
            <pc:sldMk cId="3549625812" sldId="2540"/>
            <ac:spMk id="4" creationId="{963EF485-14ED-AD20-4ACC-319257EEF338}"/>
          </ac:spMkLst>
        </pc:spChg>
        <pc:spChg chg="del">
          <ac:chgData name="Tristan MURATORE" userId="bba1d389-e75f-4912-b7b7-5ca422ed5333" providerId="ADAL" clId="{F11B1294-5997-4A19-8D57-C720954D46D0}" dt="2023-10-03T20:16:57.069" v="2258" actId="478"/>
          <ac:spMkLst>
            <pc:docMk/>
            <pc:sldMk cId="3549625812" sldId="2540"/>
            <ac:spMk id="5" creationId="{34A323A7-99A3-1E53-39DE-D1BEA37BC572}"/>
          </ac:spMkLst>
        </pc:spChg>
        <pc:spChg chg="del">
          <ac:chgData name="Tristan MURATORE" userId="bba1d389-e75f-4912-b7b7-5ca422ed5333" providerId="ADAL" clId="{F11B1294-5997-4A19-8D57-C720954D46D0}" dt="2023-10-03T20:16:57.069" v="2258" actId="478"/>
          <ac:spMkLst>
            <pc:docMk/>
            <pc:sldMk cId="3549625812" sldId="2540"/>
            <ac:spMk id="6" creationId="{B3C69F19-A1AE-41A4-B67D-64596CF24764}"/>
          </ac:spMkLst>
        </pc:spChg>
        <pc:spChg chg="del">
          <ac:chgData name="Tristan MURATORE" userId="bba1d389-e75f-4912-b7b7-5ca422ed5333" providerId="ADAL" clId="{F11B1294-5997-4A19-8D57-C720954D46D0}" dt="2023-10-03T20:16:55.168" v="2257" actId="478"/>
          <ac:spMkLst>
            <pc:docMk/>
            <pc:sldMk cId="3549625812" sldId="2540"/>
            <ac:spMk id="7" creationId="{00B7EBCD-77C0-419E-88BC-32834AA39976}"/>
          </ac:spMkLst>
        </pc:spChg>
        <pc:spChg chg="add mod">
          <ac:chgData name="Tristan MURATORE" userId="bba1d389-e75f-4912-b7b7-5ca422ed5333" providerId="ADAL" clId="{F11B1294-5997-4A19-8D57-C720954D46D0}" dt="2023-10-03T20:16:46.539" v="2254" actId="12788"/>
          <ac:spMkLst>
            <pc:docMk/>
            <pc:sldMk cId="3549625812" sldId="2540"/>
            <ac:spMk id="8" creationId="{1F68827F-6AFB-59B1-CC86-05A3C8C38FFB}"/>
          </ac:spMkLst>
        </pc:spChg>
        <pc:spChg chg="del">
          <ac:chgData name="Tristan MURATORE" userId="bba1d389-e75f-4912-b7b7-5ca422ed5333" providerId="ADAL" clId="{F11B1294-5997-4A19-8D57-C720954D46D0}" dt="2023-10-02T13:36:29.186" v="1141" actId="478"/>
          <ac:spMkLst>
            <pc:docMk/>
            <pc:sldMk cId="3549625812" sldId="2540"/>
            <ac:spMk id="9" creationId="{C7E69E75-7228-D900-AC17-EAA9527FE9EB}"/>
          </ac:spMkLst>
        </pc:spChg>
        <pc:spChg chg="add mod">
          <ac:chgData name="Tristan MURATORE" userId="bba1d389-e75f-4912-b7b7-5ca422ed5333" providerId="ADAL" clId="{F11B1294-5997-4A19-8D57-C720954D46D0}" dt="2023-10-03T20:10:54.543" v="2132" actId="1076"/>
          <ac:spMkLst>
            <pc:docMk/>
            <pc:sldMk cId="3549625812" sldId="2540"/>
            <ac:spMk id="9" creationId="{FE1C6B9C-E3AE-B247-E6B3-1E6273C4BF0C}"/>
          </ac:spMkLst>
        </pc:spChg>
        <pc:spChg chg="add mod">
          <ac:chgData name="Tristan MURATORE" userId="bba1d389-e75f-4912-b7b7-5ca422ed5333" providerId="ADAL" clId="{F11B1294-5997-4A19-8D57-C720954D46D0}" dt="2023-10-03T20:16:49.215" v="2255" actId="12788"/>
          <ac:spMkLst>
            <pc:docMk/>
            <pc:sldMk cId="3549625812" sldId="2540"/>
            <ac:spMk id="10" creationId="{27119806-EEAD-9439-9D2F-FB0FBF24F9C6}"/>
          </ac:spMkLst>
        </pc:spChg>
        <pc:spChg chg="add mod">
          <ac:chgData name="Tristan MURATORE" userId="bba1d389-e75f-4912-b7b7-5ca422ed5333" providerId="ADAL" clId="{F11B1294-5997-4A19-8D57-C720954D46D0}" dt="2023-10-03T20:10:51.024" v="2131" actId="1076"/>
          <ac:spMkLst>
            <pc:docMk/>
            <pc:sldMk cId="3549625812" sldId="2540"/>
            <ac:spMk id="11" creationId="{B9DF7A56-068C-59E9-C9B8-FA18518FAD8E}"/>
          </ac:spMkLst>
        </pc:spChg>
        <pc:spChg chg="del">
          <ac:chgData name="Tristan MURATORE" userId="bba1d389-e75f-4912-b7b7-5ca422ed5333" providerId="ADAL" clId="{F11B1294-5997-4A19-8D57-C720954D46D0}" dt="2023-10-02T13:36:29.186" v="1141" actId="478"/>
          <ac:spMkLst>
            <pc:docMk/>
            <pc:sldMk cId="3549625812" sldId="2540"/>
            <ac:spMk id="11" creationId="{D3B73879-0E78-4C3D-8553-8B108AC66B58}"/>
          </ac:spMkLst>
        </pc:spChg>
        <pc:spChg chg="del">
          <ac:chgData name="Tristan MURATORE" userId="bba1d389-e75f-4912-b7b7-5ca422ed5333" providerId="ADAL" clId="{F11B1294-5997-4A19-8D57-C720954D46D0}" dt="2023-10-02T13:36:29.186" v="1141" actId="478"/>
          <ac:spMkLst>
            <pc:docMk/>
            <pc:sldMk cId="3549625812" sldId="2540"/>
            <ac:spMk id="12" creationId="{B3DC4892-F1EE-76EE-DF24-5DF2F344D8B9}"/>
          </ac:spMkLst>
        </pc:spChg>
        <pc:spChg chg="add del mod">
          <ac:chgData name="Tristan MURATORE" userId="bba1d389-e75f-4912-b7b7-5ca422ed5333" providerId="ADAL" clId="{F11B1294-5997-4A19-8D57-C720954D46D0}" dt="2023-10-03T20:16:04.606" v="2241" actId="478"/>
          <ac:spMkLst>
            <pc:docMk/>
            <pc:sldMk cId="3549625812" sldId="2540"/>
            <ac:spMk id="12" creationId="{BF0DA05C-9D6E-E281-F772-C3C0CF73AA64}"/>
          </ac:spMkLst>
        </pc:spChg>
        <pc:spChg chg="add mod">
          <ac:chgData name="Tristan MURATORE" userId="bba1d389-e75f-4912-b7b7-5ca422ed5333" providerId="ADAL" clId="{F11B1294-5997-4A19-8D57-C720954D46D0}" dt="2023-10-03T20:16:20.990" v="2248" actId="14100"/>
          <ac:spMkLst>
            <pc:docMk/>
            <pc:sldMk cId="3549625812" sldId="2540"/>
            <ac:spMk id="13" creationId="{38028000-4D0C-0698-358F-7332EF32B99C}"/>
          </ac:spMkLst>
        </pc:spChg>
        <pc:spChg chg="del">
          <ac:chgData name="Tristan MURATORE" userId="bba1d389-e75f-4912-b7b7-5ca422ed5333" providerId="ADAL" clId="{F11B1294-5997-4A19-8D57-C720954D46D0}" dt="2023-10-02T13:36:29.186" v="1141" actId="478"/>
          <ac:spMkLst>
            <pc:docMk/>
            <pc:sldMk cId="3549625812" sldId="2540"/>
            <ac:spMk id="13" creationId="{CD2A938C-4037-3B58-EEDF-388E48E7355B}"/>
          </ac:spMkLst>
        </pc:spChg>
        <pc:spChg chg="del">
          <ac:chgData name="Tristan MURATORE" userId="bba1d389-e75f-4912-b7b7-5ca422ed5333" providerId="ADAL" clId="{F11B1294-5997-4A19-8D57-C720954D46D0}" dt="2023-10-02T13:36:29.186" v="1141" actId="478"/>
          <ac:spMkLst>
            <pc:docMk/>
            <pc:sldMk cId="3549625812" sldId="2540"/>
            <ac:spMk id="14" creationId="{03FA899D-253D-9155-4E51-447928BAA1C4}"/>
          </ac:spMkLst>
        </pc:spChg>
        <pc:spChg chg="add mod">
          <ac:chgData name="Tristan MURATORE" userId="bba1d389-e75f-4912-b7b7-5ca422ed5333" providerId="ADAL" clId="{F11B1294-5997-4A19-8D57-C720954D46D0}" dt="2023-10-03T20:18:22.737" v="2402" actId="20577"/>
          <ac:spMkLst>
            <pc:docMk/>
            <pc:sldMk cId="3549625812" sldId="2540"/>
            <ac:spMk id="14" creationId="{FE748DED-D2CF-506B-CDE6-A97EBA2EF6FD}"/>
          </ac:spMkLst>
        </pc:spChg>
        <pc:spChg chg="del">
          <ac:chgData name="Tristan MURATORE" userId="bba1d389-e75f-4912-b7b7-5ca422ed5333" providerId="ADAL" clId="{F11B1294-5997-4A19-8D57-C720954D46D0}" dt="2023-10-02T13:36:29.186" v="1141" actId="478"/>
          <ac:spMkLst>
            <pc:docMk/>
            <pc:sldMk cId="3549625812" sldId="2540"/>
            <ac:spMk id="15" creationId="{1939910F-20C1-9C35-0D71-776E238836D9}"/>
          </ac:spMkLst>
        </pc:spChg>
        <pc:spChg chg="del">
          <ac:chgData name="Tristan MURATORE" userId="bba1d389-e75f-4912-b7b7-5ca422ed5333" providerId="ADAL" clId="{F11B1294-5997-4A19-8D57-C720954D46D0}" dt="2023-10-02T13:36:29.186" v="1141" actId="478"/>
          <ac:spMkLst>
            <pc:docMk/>
            <pc:sldMk cId="3549625812" sldId="2540"/>
            <ac:spMk id="16" creationId="{45B02B08-B163-5DCC-6926-E5772B8492CC}"/>
          </ac:spMkLst>
        </pc:spChg>
        <pc:spChg chg="del">
          <ac:chgData name="Tristan MURATORE" userId="bba1d389-e75f-4912-b7b7-5ca422ed5333" providerId="ADAL" clId="{F11B1294-5997-4A19-8D57-C720954D46D0}" dt="2023-10-02T13:36:29.186" v="1141" actId="478"/>
          <ac:spMkLst>
            <pc:docMk/>
            <pc:sldMk cId="3549625812" sldId="2540"/>
            <ac:spMk id="17" creationId="{7781ED1D-EFB5-BF52-AAAF-93E8F38790E6}"/>
          </ac:spMkLst>
        </pc:spChg>
      </pc:sldChg>
      <pc:sldChg chg="modSp add del mod">
        <pc:chgData name="Tristan MURATORE" userId="bba1d389-e75f-4912-b7b7-5ca422ed5333" providerId="ADAL" clId="{F11B1294-5997-4A19-8D57-C720954D46D0}" dt="2023-10-02T13:36:15.475" v="1134" actId="47"/>
        <pc:sldMkLst>
          <pc:docMk/>
          <pc:sldMk cId="4050504534" sldId="2540"/>
        </pc:sldMkLst>
        <pc:spChg chg="mod">
          <ac:chgData name="Tristan MURATORE" userId="bba1d389-e75f-4912-b7b7-5ca422ed5333" providerId="ADAL" clId="{F11B1294-5997-4A19-8D57-C720954D46D0}" dt="2023-10-02T13:36:12.920" v="1133" actId="20577"/>
          <ac:spMkLst>
            <pc:docMk/>
            <pc:sldMk cId="4050504534" sldId="2540"/>
            <ac:spMk id="2" creationId="{A49F95FE-B77E-8715-F93F-A98CC3B93E99}"/>
          </ac:spMkLst>
        </pc:spChg>
      </pc:sldChg>
      <pc:sldChg chg="addSp delSp modSp add mod ord modClrScheme chgLayout">
        <pc:chgData name="Tristan MURATORE" userId="bba1d389-e75f-4912-b7b7-5ca422ed5333" providerId="ADAL" clId="{F11B1294-5997-4A19-8D57-C720954D46D0}" dt="2023-10-03T20:20:25.256" v="2449" actId="14100"/>
        <pc:sldMkLst>
          <pc:docMk/>
          <pc:sldMk cId="931179408" sldId="2541"/>
        </pc:sldMkLst>
        <pc:spChg chg="mod ord">
          <ac:chgData name="Tristan MURATORE" userId="bba1d389-e75f-4912-b7b7-5ca422ed5333" providerId="ADAL" clId="{F11B1294-5997-4A19-8D57-C720954D46D0}" dt="2023-10-03T20:20:25.256" v="2449" actId="14100"/>
          <ac:spMkLst>
            <pc:docMk/>
            <pc:sldMk cId="931179408" sldId="2541"/>
            <ac:spMk id="2" creationId="{A49F95FE-B77E-8715-F93F-A98CC3B93E99}"/>
          </ac:spMkLst>
        </pc:spChg>
        <pc:spChg chg="del mod">
          <ac:chgData name="Tristan MURATORE" userId="bba1d389-e75f-4912-b7b7-5ca422ed5333" providerId="ADAL" clId="{F11B1294-5997-4A19-8D57-C720954D46D0}" dt="2023-10-03T20:18:31.694" v="2404" actId="478"/>
          <ac:spMkLst>
            <pc:docMk/>
            <pc:sldMk cId="931179408" sldId="2541"/>
            <ac:spMk id="3" creationId="{8D1D15D6-9045-DC9B-00F6-05BC224465CE}"/>
          </ac:spMkLst>
        </pc:spChg>
        <pc:spChg chg="del">
          <ac:chgData name="Tristan MURATORE" userId="bba1d389-e75f-4912-b7b7-5ca422ed5333" providerId="ADAL" clId="{F11B1294-5997-4A19-8D57-C720954D46D0}" dt="2023-10-03T20:18:33.922" v="2405" actId="478"/>
          <ac:spMkLst>
            <pc:docMk/>
            <pc:sldMk cId="931179408" sldId="2541"/>
            <ac:spMk id="4" creationId="{963EF485-14ED-AD20-4ACC-319257EEF338}"/>
          </ac:spMkLst>
        </pc:spChg>
        <pc:spChg chg="del mod ord">
          <ac:chgData name="Tristan MURATORE" userId="bba1d389-e75f-4912-b7b7-5ca422ed5333" providerId="ADAL" clId="{F11B1294-5997-4A19-8D57-C720954D46D0}" dt="2023-10-03T20:20:02.812" v="2427" actId="700"/>
          <ac:spMkLst>
            <pc:docMk/>
            <pc:sldMk cId="931179408" sldId="2541"/>
            <ac:spMk id="5" creationId="{34A323A7-99A3-1E53-39DE-D1BEA37BC572}"/>
          </ac:spMkLst>
        </pc:spChg>
        <pc:spChg chg="del">
          <ac:chgData name="Tristan MURATORE" userId="bba1d389-e75f-4912-b7b7-5ca422ed5333" providerId="ADAL" clId="{F11B1294-5997-4A19-8D57-C720954D46D0}" dt="2023-10-03T20:20:02.812" v="2427" actId="700"/>
          <ac:spMkLst>
            <pc:docMk/>
            <pc:sldMk cId="931179408" sldId="2541"/>
            <ac:spMk id="6" creationId="{B3C69F19-A1AE-41A4-B67D-64596CF24764}"/>
          </ac:spMkLst>
        </pc:spChg>
        <pc:spChg chg="del">
          <ac:chgData name="Tristan MURATORE" userId="bba1d389-e75f-4912-b7b7-5ca422ed5333" providerId="ADAL" clId="{F11B1294-5997-4A19-8D57-C720954D46D0}" dt="2023-10-03T20:18:33.922" v="2405" actId="478"/>
          <ac:spMkLst>
            <pc:docMk/>
            <pc:sldMk cId="931179408" sldId="2541"/>
            <ac:spMk id="7" creationId="{00B7EBCD-77C0-419E-88BC-32834AA39976}"/>
          </ac:spMkLst>
        </pc:spChg>
        <pc:spChg chg="add del mod">
          <ac:chgData name="Tristan MURATORE" userId="bba1d389-e75f-4912-b7b7-5ca422ed5333" providerId="ADAL" clId="{F11B1294-5997-4A19-8D57-C720954D46D0}" dt="2023-10-03T20:18:27.903" v="2403" actId="478"/>
          <ac:spMkLst>
            <pc:docMk/>
            <pc:sldMk cId="931179408" sldId="2541"/>
            <ac:spMk id="8" creationId="{3CED9709-22B7-E410-B69E-7B07C4B09028}"/>
          </ac:spMkLst>
        </pc:spChg>
        <pc:spChg chg="del">
          <ac:chgData name="Tristan MURATORE" userId="bba1d389-e75f-4912-b7b7-5ca422ed5333" providerId="ADAL" clId="{F11B1294-5997-4A19-8D57-C720954D46D0}" dt="2023-10-02T13:36:35.906" v="1143" actId="478"/>
          <ac:spMkLst>
            <pc:docMk/>
            <pc:sldMk cId="931179408" sldId="2541"/>
            <ac:spMk id="9" creationId="{C7E69E75-7228-D900-AC17-EAA9527FE9EB}"/>
          </ac:spMkLst>
        </pc:spChg>
        <pc:spChg chg="add del mod">
          <ac:chgData name="Tristan MURATORE" userId="bba1d389-e75f-4912-b7b7-5ca422ed5333" providerId="ADAL" clId="{F11B1294-5997-4A19-8D57-C720954D46D0}" dt="2023-10-03T20:18:27.903" v="2403" actId="478"/>
          <ac:spMkLst>
            <pc:docMk/>
            <pc:sldMk cId="931179408" sldId="2541"/>
            <ac:spMk id="10" creationId="{FE1CCE34-02BE-C3A2-C7F7-B982F2021484}"/>
          </ac:spMkLst>
        </pc:spChg>
        <pc:spChg chg="add del">
          <ac:chgData name="Tristan MURATORE" userId="bba1d389-e75f-4912-b7b7-5ca422ed5333" providerId="ADAL" clId="{F11B1294-5997-4A19-8D57-C720954D46D0}" dt="2023-10-03T20:11:29.676" v="2136" actId="22"/>
          <ac:spMkLst>
            <pc:docMk/>
            <pc:sldMk cId="931179408" sldId="2541"/>
            <ac:spMk id="11" creationId="{8557C23B-2E19-CD1B-B306-F0A1CCC24C6C}"/>
          </ac:spMkLst>
        </pc:spChg>
        <pc:spChg chg="del">
          <ac:chgData name="Tristan MURATORE" userId="bba1d389-e75f-4912-b7b7-5ca422ed5333" providerId="ADAL" clId="{F11B1294-5997-4A19-8D57-C720954D46D0}" dt="2023-10-02T13:36:35.906" v="1143" actId="478"/>
          <ac:spMkLst>
            <pc:docMk/>
            <pc:sldMk cId="931179408" sldId="2541"/>
            <ac:spMk id="11" creationId="{D3B73879-0E78-4C3D-8553-8B108AC66B58}"/>
          </ac:spMkLst>
        </pc:spChg>
        <pc:spChg chg="add del">
          <ac:chgData name="Tristan MURATORE" userId="bba1d389-e75f-4912-b7b7-5ca422ed5333" providerId="ADAL" clId="{F11B1294-5997-4A19-8D57-C720954D46D0}" dt="2023-10-03T20:14:24.279" v="2138"/>
          <ac:spMkLst>
            <pc:docMk/>
            <pc:sldMk cId="931179408" sldId="2541"/>
            <ac:spMk id="12" creationId="{9E95CF34-70E7-B0D1-8DA6-8825F7FE0BF4}"/>
          </ac:spMkLst>
        </pc:spChg>
        <pc:spChg chg="del">
          <ac:chgData name="Tristan MURATORE" userId="bba1d389-e75f-4912-b7b7-5ca422ed5333" providerId="ADAL" clId="{F11B1294-5997-4A19-8D57-C720954D46D0}" dt="2023-10-02T13:36:35.906" v="1143" actId="478"/>
          <ac:spMkLst>
            <pc:docMk/>
            <pc:sldMk cId="931179408" sldId="2541"/>
            <ac:spMk id="12" creationId="{B3DC4892-F1EE-76EE-DF24-5DF2F344D8B9}"/>
          </ac:spMkLst>
        </pc:spChg>
        <pc:spChg chg="add del mod">
          <ac:chgData name="Tristan MURATORE" userId="bba1d389-e75f-4912-b7b7-5ca422ed5333" providerId="ADAL" clId="{F11B1294-5997-4A19-8D57-C720954D46D0}" dt="2023-10-03T20:18:52.455" v="2408" actId="478"/>
          <ac:spMkLst>
            <pc:docMk/>
            <pc:sldMk cId="931179408" sldId="2541"/>
            <ac:spMk id="13" creationId="{7519390F-7BE1-E7E7-7E62-AFBF92996310}"/>
          </ac:spMkLst>
        </pc:spChg>
        <pc:spChg chg="del">
          <ac:chgData name="Tristan MURATORE" userId="bba1d389-e75f-4912-b7b7-5ca422ed5333" providerId="ADAL" clId="{F11B1294-5997-4A19-8D57-C720954D46D0}" dt="2023-10-02T13:36:35.906" v="1143" actId="478"/>
          <ac:spMkLst>
            <pc:docMk/>
            <pc:sldMk cId="931179408" sldId="2541"/>
            <ac:spMk id="13" creationId="{CD2A938C-4037-3B58-EEDF-388E48E7355B}"/>
          </ac:spMkLst>
        </pc:spChg>
        <pc:spChg chg="del">
          <ac:chgData name="Tristan MURATORE" userId="bba1d389-e75f-4912-b7b7-5ca422ed5333" providerId="ADAL" clId="{F11B1294-5997-4A19-8D57-C720954D46D0}" dt="2023-10-02T13:36:35.906" v="1143" actId="478"/>
          <ac:spMkLst>
            <pc:docMk/>
            <pc:sldMk cId="931179408" sldId="2541"/>
            <ac:spMk id="14" creationId="{03FA899D-253D-9155-4E51-447928BAA1C4}"/>
          </ac:spMkLst>
        </pc:spChg>
        <pc:spChg chg="add del mod">
          <ac:chgData name="Tristan MURATORE" userId="bba1d389-e75f-4912-b7b7-5ca422ed5333" providerId="ADAL" clId="{F11B1294-5997-4A19-8D57-C720954D46D0}" dt="2023-10-03T20:18:52.455" v="2408" actId="478"/>
          <ac:spMkLst>
            <pc:docMk/>
            <pc:sldMk cId="931179408" sldId="2541"/>
            <ac:spMk id="14" creationId="{AFF2139C-879A-DF51-E241-2B638D92FD4A}"/>
          </ac:spMkLst>
        </pc:spChg>
        <pc:spChg chg="del">
          <ac:chgData name="Tristan MURATORE" userId="bba1d389-e75f-4912-b7b7-5ca422ed5333" providerId="ADAL" clId="{F11B1294-5997-4A19-8D57-C720954D46D0}" dt="2023-10-02T13:36:35.906" v="1143" actId="478"/>
          <ac:spMkLst>
            <pc:docMk/>
            <pc:sldMk cId="931179408" sldId="2541"/>
            <ac:spMk id="15" creationId="{1939910F-20C1-9C35-0D71-776E238836D9}"/>
          </ac:spMkLst>
        </pc:spChg>
        <pc:spChg chg="add del mod">
          <ac:chgData name="Tristan MURATORE" userId="bba1d389-e75f-4912-b7b7-5ca422ed5333" providerId="ADAL" clId="{F11B1294-5997-4A19-8D57-C720954D46D0}" dt="2023-10-03T20:19:15.796" v="2422" actId="478"/>
          <ac:spMkLst>
            <pc:docMk/>
            <pc:sldMk cId="931179408" sldId="2541"/>
            <ac:spMk id="15" creationId="{434112ED-EE2E-C5CA-69A5-19561CCC5E39}"/>
          </ac:spMkLst>
        </pc:spChg>
        <pc:spChg chg="add del mod ord">
          <ac:chgData name="Tristan MURATORE" userId="bba1d389-e75f-4912-b7b7-5ca422ed5333" providerId="ADAL" clId="{F11B1294-5997-4A19-8D57-C720954D46D0}" dt="2023-10-03T20:20:05.498" v="2428" actId="478"/>
          <ac:spMkLst>
            <pc:docMk/>
            <pc:sldMk cId="931179408" sldId="2541"/>
            <ac:spMk id="16" creationId="{25A47748-BE7D-CF32-61D5-A046FDC3EA55}"/>
          </ac:spMkLst>
        </pc:spChg>
        <pc:spChg chg="del">
          <ac:chgData name="Tristan MURATORE" userId="bba1d389-e75f-4912-b7b7-5ca422ed5333" providerId="ADAL" clId="{F11B1294-5997-4A19-8D57-C720954D46D0}" dt="2023-10-02T13:36:35.906" v="1143" actId="478"/>
          <ac:spMkLst>
            <pc:docMk/>
            <pc:sldMk cId="931179408" sldId="2541"/>
            <ac:spMk id="16" creationId="{45B02B08-B163-5DCC-6926-E5772B8492CC}"/>
          </ac:spMkLst>
        </pc:spChg>
        <pc:spChg chg="del">
          <ac:chgData name="Tristan MURATORE" userId="bba1d389-e75f-4912-b7b7-5ca422ed5333" providerId="ADAL" clId="{F11B1294-5997-4A19-8D57-C720954D46D0}" dt="2023-10-02T13:36:35.906" v="1143" actId="478"/>
          <ac:spMkLst>
            <pc:docMk/>
            <pc:sldMk cId="931179408" sldId="2541"/>
            <ac:spMk id="17" creationId="{7781ED1D-EFB5-BF52-AAAF-93E8F38790E6}"/>
          </ac:spMkLst>
        </pc:spChg>
        <pc:spChg chg="add del mod">
          <ac:chgData name="Tristan MURATORE" userId="bba1d389-e75f-4912-b7b7-5ca422ed5333" providerId="ADAL" clId="{F11B1294-5997-4A19-8D57-C720954D46D0}" dt="2023-10-03T20:18:27.903" v="2403" actId="478"/>
          <ac:spMkLst>
            <pc:docMk/>
            <pc:sldMk cId="931179408" sldId="2541"/>
            <ac:spMk id="18" creationId="{4754C0BB-86DD-1839-BC3C-4186C1AD10DC}"/>
          </ac:spMkLst>
        </pc:spChg>
        <pc:spChg chg="add del mod">
          <ac:chgData name="Tristan MURATORE" userId="bba1d389-e75f-4912-b7b7-5ca422ed5333" providerId="ADAL" clId="{F11B1294-5997-4A19-8D57-C720954D46D0}" dt="2023-10-03T20:11:16.062" v="2134" actId="478"/>
          <ac:spMkLst>
            <pc:docMk/>
            <pc:sldMk cId="931179408" sldId="2541"/>
            <ac:spMk id="19" creationId="{F73D70F0-3AA5-20CF-4525-54CC80958368}"/>
          </ac:spMkLst>
        </pc:spChg>
      </pc:sldChg>
      <pc:sldChg chg="modSp add del mod">
        <pc:chgData name="Tristan MURATORE" userId="bba1d389-e75f-4912-b7b7-5ca422ed5333" providerId="ADAL" clId="{F11B1294-5997-4A19-8D57-C720954D46D0}" dt="2023-10-03T20:33:20.507" v="2904" actId="47"/>
        <pc:sldMkLst>
          <pc:docMk/>
          <pc:sldMk cId="3027476672" sldId="2542"/>
        </pc:sldMkLst>
        <pc:spChg chg="mod">
          <ac:chgData name="Tristan MURATORE" userId="bba1d389-e75f-4912-b7b7-5ca422ed5333" providerId="ADAL" clId="{F11B1294-5997-4A19-8D57-C720954D46D0}" dt="2023-10-02T13:37:12.084" v="1227" actId="20577"/>
          <ac:spMkLst>
            <pc:docMk/>
            <pc:sldMk cId="3027476672" sldId="2542"/>
            <ac:spMk id="2" creationId="{A49F95FE-B77E-8715-F93F-A98CC3B93E99}"/>
          </ac:spMkLst>
        </pc:spChg>
      </pc:sldChg>
      <pc:sldChg chg="addSp modSp add del mod">
        <pc:chgData name="Tristan MURATORE" userId="bba1d389-e75f-4912-b7b7-5ca422ed5333" providerId="ADAL" clId="{F11B1294-5997-4A19-8D57-C720954D46D0}" dt="2023-10-03T20:33:20.507" v="2904" actId="47"/>
        <pc:sldMkLst>
          <pc:docMk/>
          <pc:sldMk cId="3378765326" sldId="2543"/>
        </pc:sldMkLst>
        <pc:spChg chg="mod">
          <ac:chgData name="Tristan MURATORE" userId="bba1d389-e75f-4912-b7b7-5ca422ed5333" providerId="ADAL" clId="{F11B1294-5997-4A19-8D57-C720954D46D0}" dt="2023-10-02T13:39:47.953" v="1336" actId="20577"/>
          <ac:spMkLst>
            <pc:docMk/>
            <pc:sldMk cId="3378765326" sldId="2543"/>
            <ac:spMk id="2" creationId="{A49F95FE-B77E-8715-F93F-A98CC3B93E99}"/>
          </ac:spMkLst>
        </pc:spChg>
        <pc:spChg chg="add mod">
          <ac:chgData name="Tristan MURATORE" userId="bba1d389-e75f-4912-b7b7-5ca422ed5333" providerId="ADAL" clId="{F11B1294-5997-4A19-8D57-C720954D46D0}" dt="2023-10-02T15:31:16.493" v="1765" actId="20577"/>
          <ac:spMkLst>
            <pc:docMk/>
            <pc:sldMk cId="3378765326" sldId="2543"/>
            <ac:spMk id="8" creationId="{BB47440D-41AB-57B6-B8A9-B373606EF1CC}"/>
          </ac:spMkLst>
        </pc:spChg>
      </pc:sldChg>
      <pc:sldChg chg="modSp add del mod">
        <pc:chgData name="Tristan MURATORE" userId="bba1d389-e75f-4912-b7b7-5ca422ed5333" providerId="ADAL" clId="{F11B1294-5997-4A19-8D57-C720954D46D0}" dt="2023-10-03T20:33:20.507" v="2904" actId="47"/>
        <pc:sldMkLst>
          <pc:docMk/>
          <pc:sldMk cId="2563554422" sldId="2544"/>
        </pc:sldMkLst>
        <pc:spChg chg="mod">
          <ac:chgData name="Tristan MURATORE" userId="bba1d389-e75f-4912-b7b7-5ca422ed5333" providerId="ADAL" clId="{F11B1294-5997-4A19-8D57-C720954D46D0}" dt="2023-10-02T13:40:01.280" v="1373" actId="20577"/>
          <ac:spMkLst>
            <pc:docMk/>
            <pc:sldMk cId="2563554422" sldId="2544"/>
            <ac:spMk id="2" creationId="{A49F95FE-B77E-8715-F93F-A98CC3B93E99}"/>
          </ac:spMkLst>
        </pc:spChg>
      </pc:sldChg>
      <pc:sldChg chg="modSp add del mod">
        <pc:chgData name="Tristan MURATORE" userId="bba1d389-e75f-4912-b7b7-5ca422ed5333" providerId="ADAL" clId="{F11B1294-5997-4A19-8D57-C720954D46D0}" dt="2023-10-03T20:33:03.619" v="2902" actId="47"/>
        <pc:sldMkLst>
          <pc:docMk/>
          <pc:sldMk cId="2729573597" sldId="2545"/>
        </pc:sldMkLst>
        <pc:spChg chg="mod">
          <ac:chgData name="Tristan MURATORE" userId="bba1d389-e75f-4912-b7b7-5ca422ed5333" providerId="ADAL" clId="{F11B1294-5997-4A19-8D57-C720954D46D0}" dt="2023-10-02T15:31:00.011" v="1742" actId="20577"/>
          <ac:spMkLst>
            <pc:docMk/>
            <pc:sldMk cId="2729573597" sldId="2545"/>
            <ac:spMk id="2" creationId="{A49F95FE-B77E-8715-F93F-A98CC3B93E99}"/>
          </ac:spMkLst>
        </pc:spChg>
        <pc:spChg chg="mod">
          <ac:chgData name="Tristan MURATORE" userId="bba1d389-e75f-4912-b7b7-5ca422ed5333" providerId="ADAL" clId="{F11B1294-5997-4A19-8D57-C720954D46D0}" dt="2023-10-02T15:31:02.701" v="1746" actId="20577"/>
          <ac:spMkLst>
            <pc:docMk/>
            <pc:sldMk cId="2729573597" sldId="2545"/>
            <ac:spMk id="10" creationId="{27119806-EEAD-9439-9D2F-FB0FBF24F9C6}"/>
          </ac:spMkLst>
        </pc:spChg>
      </pc:sldChg>
      <pc:sldChg chg="delSp add del mod">
        <pc:chgData name="Tristan MURATORE" userId="bba1d389-e75f-4912-b7b7-5ca422ed5333" providerId="ADAL" clId="{F11B1294-5997-4A19-8D57-C720954D46D0}" dt="2023-10-03T20:33:06.092" v="2903" actId="47"/>
        <pc:sldMkLst>
          <pc:docMk/>
          <pc:sldMk cId="3483794125" sldId="2546"/>
        </pc:sldMkLst>
        <pc:spChg chg="del">
          <ac:chgData name="Tristan MURATORE" userId="bba1d389-e75f-4912-b7b7-5ca422ed5333" providerId="ADAL" clId="{F11B1294-5997-4A19-8D57-C720954D46D0}" dt="2023-10-03T20:28:06.469" v="2753" actId="21"/>
          <ac:spMkLst>
            <pc:docMk/>
            <pc:sldMk cId="3483794125" sldId="2546"/>
            <ac:spMk id="8" creationId="{3CED9709-22B7-E410-B69E-7B07C4B09028}"/>
          </ac:spMkLst>
        </pc:spChg>
        <pc:spChg chg="del">
          <ac:chgData name="Tristan MURATORE" userId="bba1d389-e75f-4912-b7b7-5ca422ed5333" providerId="ADAL" clId="{F11B1294-5997-4A19-8D57-C720954D46D0}" dt="2023-10-03T20:28:06.469" v="2753" actId="21"/>
          <ac:spMkLst>
            <pc:docMk/>
            <pc:sldMk cId="3483794125" sldId="2546"/>
            <ac:spMk id="10" creationId="{FE1CCE34-02BE-C3A2-C7F7-B982F2021484}"/>
          </ac:spMkLst>
        </pc:spChg>
        <pc:spChg chg="del">
          <ac:chgData name="Tristan MURATORE" userId="bba1d389-e75f-4912-b7b7-5ca422ed5333" providerId="ADAL" clId="{F11B1294-5997-4A19-8D57-C720954D46D0}" dt="2023-10-03T20:15:13.946" v="2151" actId="478"/>
          <ac:spMkLst>
            <pc:docMk/>
            <pc:sldMk cId="3483794125" sldId="2546"/>
            <ac:spMk id="13" creationId="{7519390F-7BE1-E7E7-7E62-AFBF92996310}"/>
          </ac:spMkLst>
        </pc:spChg>
        <pc:spChg chg="del">
          <ac:chgData name="Tristan MURATORE" userId="bba1d389-e75f-4912-b7b7-5ca422ed5333" providerId="ADAL" clId="{F11B1294-5997-4A19-8D57-C720954D46D0}" dt="2023-10-03T20:15:13.946" v="2151" actId="478"/>
          <ac:spMkLst>
            <pc:docMk/>
            <pc:sldMk cId="3483794125" sldId="2546"/>
            <ac:spMk id="14" creationId="{AFF2139C-879A-DF51-E241-2B638D92FD4A}"/>
          </ac:spMkLst>
        </pc:spChg>
        <pc:spChg chg="del">
          <ac:chgData name="Tristan MURATORE" userId="bba1d389-e75f-4912-b7b7-5ca422ed5333" providerId="ADAL" clId="{F11B1294-5997-4A19-8D57-C720954D46D0}" dt="2023-10-03T20:28:06.469" v="2753" actId="21"/>
          <ac:spMkLst>
            <pc:docMk/>
            <pc:sldMk cId="3483794125" sldId="2546"/>
            <ac:spMk id="18" creationId="{4754C0BB-86DD-1839-BC3C-4186C1AD10DC}"/>
          </ac:spMkLst>
        </pc:spChg>
      </pc:sldChg>
      <pc:sldChg chg="addSp delSp modSp add del mod">
        <pc:chgData name="Tristan MURATORE" userId="bba1d389-e75f-4912-b7b7-5ca422ed5333" providerId="ADAL" clId="{F11B1294-5997-4A19-8D57-C720954D46D0}" dt="2023-10-03T20:33:25.230" v="2905" actId="47"/>
        <pc:sldMkLst>
          <pc:docMk/>
          <pc:sldMk cId="2891880402" sldId="2547"/>
        </pc:sldMkLst>
        <pc:spChg chg="add mod">
          <ac:chgData name="Tristan MURATORE" userId="bba1d389-e75f-4912-b7b7-5ca422ed5333" providerId="ADAL" clId="{F11B1294-5997-4A19-8D57-C720954D46D0}" dt="2023-10-03T20:28:17.504" v="2757" actId="1076"/>
          <ac:spMkLst>
            <pc:docMk/>
            <pc:sldMk cId="2891880402" sldId="2547"/>
            <ac:spMk id="3" creationId="{EEDC7B9A-E50A-0D77-5950-79ABB45AD4CD}"/>
          </ac:spMkLst>
        </pc:spChg>
        <pc:spChg chg="add mod">
          <ac:chgData name="Tristan MURATORE" userId="bba1d389-e75f-4912-b7b7-5ca422ed5333" providerId="ADAL" clId="{F11B1294-5997-4A19-8D57-C720954D46D0}" dt="2023-10-03T20:28:44.704" v="2796" actId="20577"/>
          <ac:spMkLst>
            <pc:docMk/>
            <pc:sldMk cId="2891880402" sldId="2547"/>
            <ac:spMk id="4" creationId="{0D8605DB-F1CC-12B5-1991-1C372EDB669A}"/>
          </ac:spMkLst>
        </pc:spChg>
        <pc:spChg chg="add mod">
          <ac:chgData name="Tristan MURATORE" userId="bba1d389-e75f-4912-b7b7-5ca422ed5333" providerId="ADAL" clId="{F11B1294-5997-4A19-8D57-C720954D46D0}" dt="2023-10-03T20:28:53.642" v="2822" actId="20577"/>
          <ac:spMkLst>
            <pc:docMk/>
            <pc:sldMk cId="2891880402" sldId="2547"/>
            <ac:spMk id="7" creationId="{71AAB475-C272-FC06-71BB-989D45392664}"/>
          </ac:spMkLst>
        </pc:spChg>
        <pc:spChg chg="add mod">
          <ac:chgData name="Tristan MURATORE" userId="bba1d389-e75f-4912-b7b7-5ca422ed5333" providerId="ADAL" clId="{F11B1294-5997-4A19-8D57-C720954D46D0}" dt="2023-10-03T20:29:08.387" v="2846" actId="1076"/>
          <ac:spMkLst>
            <pc:docMk/>
            <pc:sldMk cId="2891880402" sldId="2547"/>
            <ac:spMk id="8" creationId="{B978888B-FBAD-3157-4367-AC3D56F37DE8}"/>
          </ac:spMkLst>
        </pc:spChg>
        <pc:spChg chg="add mod">
          <ac:chgData name="Tristan MURATORE" userId="bba1d389-e75f-4912-b7b7-5ca422ed5333" providerId="ADAL" clId="{F11B1294-5997-4A19-8D57-C720954D46D0}" dt="2023-10-03T20:29:12.617" v="2848" actId="1076"/>
          <ac:spMkLst>
            <pc:docMk/>
            <pc:sldMk cId="2891880402" sldId="2547"/>
            <ac:spMk id="9" creationId="{5475C611-3B08-6F7B-B1EF-12F6F4D7E37B}"/>
          </ac:spMkLst>
        </pc:spChg>
        <pc:spChg chg="del mod">
          <ac:chgData name="Tristan MURATORE" userId="bba1d389-e75f-4912-b7b7-5ca422ed5333" providerId="ADAL" clId="{F11B1294-5997-4A19-8D57-C720954D46D0}" dt="2023-10-03T20:31:27.818" v="2895" actId="478"/>
          <ac:spMkLst>
            <pc:docMk/>
            <pc:sldMk cId="2891880402" sldId="2547"/>
            <ac:spMk id="13" creationId="{7519390F-7BE1-E7E7-7E62-AFBF92996310}"/>
          </ac:spMkLst>
        </pc:spChg>
        <pc:spChg chg="del mod">
          <ac:chgData name="Tristan MURATORE" userId="bba1d389-e75f-4912-b7b7-5ca422ed5333" providerId="ADAL" clId="{F11B1294-5997-4A19-8D57-C720954D46D0}" dt="2023-10-03T20:27:53.339" v="2751" actId="478"/>
          <ac:spMkLst>
            <pc:docMk/>
            <pc:sldMk cId="2891880402" sldId="2547"/>
            <ac:spMk id="14" creationId="{AFF2139C-879A-DF51-E241-2B638D92FD4A}"/>
          </ac:spMkLst>
        </pc:spChg>
      </pc:sldChg>
      <pc:sldChg chg="addSp delSp modSp add mod">
        <pc:chgData name="Tristan MURATORE" userId="bba1d389-e75f-4912-b7b7-5ca422ed5333" providerId="ADAL" clId="{F11B1294-5997-4A19-8D57-C720954D46D0}" dt="2023-10-04T08:01:49.223" v="3021" actId="20577"/>
        <pc:sldMkLst>
          <pc:docMk/>
          <pc:sldMk cId="2697547450" sldId="2548"/>
        </pc:sldMkLst>
        <pc:spChg chg="add mod">
          <ac:chgData name="Tristan MURATORE" userId="bba1d389-e75f-4912-b7b7-5ca422ed5333" providerId="ADAL" clId="{F11B1294-5997-4A19-8D57-C720954D46D0}" dt="2023-10-03T20:32:10.994" v="2896" actId="790"/>
          <ac:spMkLst>
            <pc:docMk/>
            <pc:sldMk cId="2697547450" sldId="2548"/>
            <ac:spMk id="3" creationId="{B56B664F-A5EC-EE7E-ED37-E88C94142708}"/>
          </ac:spMkLst>
        </pc:spChg>
        <pc:spChg chg="add del">
          <ac:chgData name="Tristan MURATORE" userId="bba1d389-e75f-4912-b7b7-5ca422ed5333" providerId="ADAL" clId="{F11B1294-5997-4A19-8D57-C720954D46D0}" dt="2023-10-04T08:01:43.610" v="3005"/>
          <ac:spMkLst>
            <pc:docMk/>
            <pc:sldMk cId="2697547450" sldId="2548"/>
            <ac:spMk id="4" creationId="{B57BFF64-D8AF-34AB-2E21-F5D1DA262CEB}"/>
          </ac:spMkLst>
        </pc:spChg>
        <pc:spChg chg="add del">
          <ac:chgData name="Tristan MURATORE" userId="bba1d389-e75f-4912-b7b7-5ca422ed5333" providerId="ADAL" clId="{F11B1294-5997-4A19-8D57-C720954D46D0}" dt="2023-10-03T20:30:10.713" v="2865" actId="22"/>
          <ac:spMkLst>
            <pc:docMk/>
            <pc:sldMk cId="2697547450" sldId="2548"/>
            <ac:spMk id="5" creationId="{E08E141F-B7F9-E2D7-EB51-DA96FB4A362D}"/>
          </ac:spMkLst>
        </pc:spChg>
        <pc:spChg chg="add del">
          <ac:chgData name="Tristan MURATORE" userId="bba1d389-e75f-4912-b7b7-5ca422ed5333" providerId="ADAL" clId="{F11B1294-5997-4A19-8D57-C720954D46D0}" dt="2023-10-03T20:30:12.909" v="2867" actId="22"/>
          <ac:spMkLst>
            <pc:docMk/>
            <pc:sldMk cId="2697547450" sldId="2548"/>
            <ac:spMk id="7" creationId="{72C95430-90B0-08C9-017E-A1C631AD084A}"/>
          </ac:spMkLst>
        </pc:spChg>
        <pc:spChg chg="del">
          <ac:chgData name="Tristan MURATORE" userId="bba1d389-e75f-4912-b7b7-5ca422ed5333" providerId="ADAL" clId="{F11B1294-5997-4A19-8D57-C720954D46D0}" dt="2023-10-03T20:29:33.631" v="2850" actId="478"/>
          <ac:spMkLst>
            <pc:docMk/>
            <pc:sldMk cId="2697547450" sldId="2548"/>
            <ac:spMk id="8" creationId="{1F4B4416-92D8-E8F4-B97B-999CF4DC864D}"/>
          </ac:spMkLst>
        </pc:spChg>
        <pc:spChg chg="del">
          <ac:chgData name="Tristan MURATORE" userId="bba1d389-e75f-4912-b7b7-5ca422ed5333" providerId="ADAL" clId="{F11B1294-5997-4A19-8D57-C720954D46D0}" dt="2023-10-03T20:29:33.631" v="2850" actId="478"/>
          <ac:spMkLst>
            <pc:docMk/>
            <pc:sldMk cId="2697547450" sldId="2548"/>
            <ac:spMk id="9" creationId="{C7E69E75-7228-D900-AC17-EAA9527FE9EB}"/>
          </ac:spMkLst>
        </pc:spChg>
        <pc:spChg chg="del">
          <ac:chgData name="Tristan MURATORE" userId="bba1d389-e75f-4912-b7b7-5ca422ed5333" providerId="ADAL" clId="{F11B1294-5997-4A19-8D57-C720954D46D0}" dt="2023-10-03T20:29:33.631" v="2850" actId="478"/>
          <ac:spMkLst>
            <pc:docMk/>
            <pc:sldMk cId="2697547450" sldId="2548"/>
            <ac:spMk id="10" creationId="{747CEB2C-AF2F-D614-B6BB-A8C7C1C749AA}"/>
          </ac:spMkLst>
        </pc:spChg>
        <pc:spChg chg="add mod">
          <ac:chgData name="Tristan MURATORE" userId="bba1d389-e75f-4912-b7b7-5ca422ed5333" providerId="ADAL" clId="{F11B1294-5997-4A19-8D57-C720954D46D0}" dt="2023-10-04T08:01:49.223" v="3021" actId="20577"/>
          <ac:spMkLst>
            <pc:docMk/>
            <pc:sldMk cId="2697547450" sldId="2548"/>
            <ac:spMk id="12" creationId="{37A9062F-EE7C-DE9D-CC67-14239D406302}"/>
          </ac:spMkLst>
        </pc:spChg>
        <pc:spChg chg="del">
          <ac:chgData name="Tristan MURATORE" userId="bba1d389-e75f-4912-b7b7-5ca422ed5333" providerId="ADAL" clId="{F11B1294-5997-4A19-8D57-C720954D46D0}" dt="2023-10-03T20:29:33.631" v="2850" actId="478"/>
          <ac:spMkLst>
            <pc:docMk/>
            <pc:sldMk cId="2697547450" sldId="2548"/>
            <ac:spMk id="18" creationId="{E8B25EDB-49E2-E49F-67AF-4159D5CA75BB}"/>
          </ac:spMkLst>
        </pc:spChg>
        <pc:spChg chg="del">
          <ac:chgData name="Tristan MURATORE" userId="bba1d389-e75f-4912-b7b7-5ca422ed5333" providerId="ADAL" clId="{F11B1294-5997-4A19-8D57-C720954D46D0}" dt="2023-10-03T20:29:33.631" v="2850" actId="478"/>
          <ac:spMkLst>
            <pc:docMk/>
            <pc:sldMk cId="2697547450" sldId="2548"/>
            <ac:spMk id="19" creationId="{89DCCE1C-3B2E-EFC6-2F84-CE28ACCEE2F0}"/>
          </ac:spMkLst>
        </pc:spChg>
        <pc:spChg chg="del">
          <ac:chgData name="Tristan MURATORE" userId="bba1d389-e75f-4912-b7b7-5ca422ed5333" providerId="ADAL" clId="{F11B1294-5997-4A19-8D57-C720954D46D0}" dt="2023-10-03T20:29:33.631" v="2850" actId="478"/>
          <ac:spMkLst>
            <pc:docMk/>
            <pc:sldMk cId="2697547450" sldId="2548"/>
            <ac:spMk id="20" creationId="{F1F69154-42A5-7A02-56F3-128A75320C43}"/>
          </ac:spMkLst>
        </pc:spChg>
        <pc:spChg chg="del">
          <ac:chgData name="Tristan MURATORE" userId="bba1d389-e75f-4912-b7b7-5ca422ed5333" providerId="ADAL" clId="{F11B1294-5997-4A19-8D57-C720954D46D0}" dt="2023-10-03T20:29:33.631" v="2850" actId="478"/>
          <ac:spMkLst>
            <pc:docMk/>
            <pc:sldMk cId="2697547450" sldId="2548"/>
            <ac:spMk id="25" creationId="{3DCA19D1-0C9B-B0C5-6D17-42E398D3E78A}"/>
          </ac:spMkLst>
        </pc:spChg>
        <pc:spChg chg="del">
          <ac:chgData name="Tristan MURATORE" userId="bba1d389-e75f-4912-b7b7-5ca422ed5333" providerId="ADAL" clId="{F11B1294-5997-4A19-8D57-C720954D46D0}" dt="2023-10-03T20:29:33.631" v="2850" actId="478"/>
          <ac:spMkLst>
            <pc:docMk/>
            <pc:sldMk cId="2697547450" sldId="2548"/>
            <ac:spMk id="27" creationId="{15CC6683-2045-5078-5571-C822E4CD5025}"/>
          </ac:spMkLst>
        </pc:spChg>
      </pc:sldChg>
      <pc:sldChg chg="delSp add del mod">
        <pc:chgData name="Tristan MURATORE" userId="bba1d389-e75f-4912-b7b7-5ca422ed5333" providerId="ADAL" clId="{F11B1294-5997-4A19-8D57-C720954D46D0}" dt="2023-10-03T20:33:51.959" v="2955" actId="47"/>
        <pc:sldMkLst>
          <pc:docMk/>
          <pc:sldMk cId="1765287217" sldId="2549"/>
        </pc:sldMkLst>
        <pc:spChg chg="del">
          <ac:chgData name="Tristan MURATORE" userId="bba1d389-e75f-4912-b7b7-5ca422ed5333" providerId="ADAL" clId="{F11B1294-5997-4A19-8D57-C720954D46D0}" dt="2023-10-03T20:33:31.626" v="2907" actId="478"/>
          <ac:spMkLst>
            <pc:docMk/>
            <pc:sldMk cId="1765287217" sldId="2549"/>
            <ac:spMk id="3" creationId="{B56B664F-A5EC-EE7E-ED37-E88C94142708}"/>
          </ac:spMkLst>
        </pc:spChg>
        <pc:spChg chg="del">
          <ac:chgData name="Tristan MURATORE" userId="bba1d389-e75f-4912-b7b7-5ca422ed5333" providerId="ADAL" clId="{F11B1294-5997-4A19-8D57-C720954D46D0}" dt="2023-10-03T20:33:31.626" v="2907" actId="478"/>
          <ac:spMkLst>
            <pc:docMk/>
            <pc:sldMk cId="1765287217" sldId="2549"/>
            <ac:spMk id="12" creationId="{37A9062F-EE7C-DE9D-CC67-14239D406302}"/>
          </ac:spMkLst>
        </pc:spChg>
      </pc:sldChg>
      <pc:sldChg chg="modSp add mod">
        <pc:chgData name="Tristan MURATORE" userId="bba1d389-e75f-4912-b7b7-5ca422ed5333" providerId="ADAL" clId="{F11B1294-5997-4A19-8D57-C720954D46D0}" dt="2023-10-04T08:06:00.919" v="3022" actId="12788"/>
        <pc:sldMkLst>
          <pc:docMk/>
          <pc:sldMk cId="3686515783" sldId="2550"/>
        </pc:sldMkLst>
        <pc:spChg chg="mod">
          <ac:chgData name="Tristan MURATORE" userId="bba1d389-e75f-4912-b7b7-5ca422ed5333" providerId="ADAL" clId="{F11B1294-5997-4A19-8D57-C720954D46D0}" dt="2023-10-04T08:06:00.919" v="3022" actId="12788"/>
          <ac:spMkLst>
            <pc:docMk/>
            <pc:sldMk cId="3686515783" sldId="2550"/>
            <ac:spMk id="2" creationId="{A49F95FE-B77E-8715-F93F-A98CC3B93E99}"/>
          </ac:spMkLst>
        </pc:spChg>
      </pc:sldChg>
      <pc:sldChg chg="addSp delSp modSp add del mod">
        <pc:chgData name="Tristan MURATORE" userId="bba1d389-e75f-4912-b7b7-5ca422ed5333" providerId="ADAL" clId="{F11B1294-5997-4A19-8D57-C720954D46D0}" dt="2023-10-04T10:17:11.636" v="3538" actId="47"/>
        <pc:sldMkLst>
          <pc:docMk/>
          <pc:sldMk cId="4173117176" sldId="2551"/>
        </pc:sldMkLst>
        <pc:spChg chg="mod">
          <ac:chgData name="Tristan MURATORE" userId="bba1d389-e75f-4912-b7b7-5ca422ed5333" providerId="ADAL" clId="{F11B1294-5997-4A19-8D57-C720954D46D0}" dt="2023-10-04T10:14:53.285" v="3432" actId="20577"/>
          <ac:spMkLst>
            <pc:docMk/>
            <pc:sldMk cId="4173117176" sldId="2551"/>
            <ac:spMk id="2" creationId="{A49F95FE-B77E-8715-F93F-A98CC3B93E99}"/>
          </ac:spMkLst>
        </pc:spChg>
        <pc:spChg chg="add mod">
          <ac:chgData name="Tristan MURATORE" userId="bba1d389-e75f-4912-b7b7-5ca422ed5333" providerId="ADAL" clId="{F11B1294-5997-4A19-8D57-C720954D46D0}" dt="2023-10-04T10:16:10.832" v="3515" actId="20577"/>
          <ac:spMkLst>
            <pc:docMk/>
            <pc:sldMk cId="4173117176" sldId="2551"/>
            <ac:spMk id="3" creationId="{1EBD2324-A176-7753-FAC5-78644C43B2B3}"/>
          </ac:spMkLst>
        </pc:spChg>
        <pc:spChg chg="add mod">
          <ac:chgData name="Tristan MURATORE" userId="bba1d389-e75f-4912-b7b7-5ca422ed5333" providerId="ADAL" clId="{F11B1294-5997-4A19-8D57-C720954D46D0}" dt="2023-10-04T10:16:16.517" v="3525" actId="20577"/>
          <ac:spMkLst>
            <pc:docMk/>
            <pc:sldMk cId="4173117176" sldId="2551"/>
            <ac:spMk id="4" creationId="{A809DCA0-82D9-3249-DE16-127D316C08F8}"/>
          </ac:spMkLst>
        </pc:spChg>
        <pc:spChg chg="add del mod">
          <ac:chgData name="Tristan MURATORE" userId="bba1d389-e75f-4912-b7b7-5ca422ed5333" providerId="ADAL" clId="{F11B1294-5997-4A19-8D57-C720954D46D0}" dt="2023-10-04T10:16:27.518" v="3527" actId="478"/>
          <ac:spMkLst>
            <pc:docMk/>
            <pc:sldMk cId="4173117176" sldId="2551"/>
            <ac:spMk id="5" creationId="{12559C49-4D49-CACD-44D4-00B4F7690ED9}"/>
          </ac:spMkLst>
        </pc:spChg>
        <pc:spChg chg="add mod">
          <ac:chgData name="Tristan MURATORE" userId="bba1d389-e75f-4912-b7b7-5ca422ed5333" providerId="ADAL" clId="{F11B1294-5997-4A19-8D57-C720954D46D0}" dt="2023-10-04T10:16:19.346" v="3526" actId="1076"/>
          <ac:spMkLst>
            <pc:docMk/>
            <pc:sldMk cId="4173117176" sldId="2551"/>
            <ac:spMk id="6" creationId="{093763DB-BA5F-8A75-54A8-59EB9CD3B458}"/>
          </ac:spMkLst>
        </pc:spChg>
        <pc:spChg chg="add del mod">
          <ac:chgData name="Tristan MURATORE" userId="bba1d389-e75f-4912-b7b7-5ca422ed5333" providerId="ADAL" clId="{F11B1294-5997-4A19-8D57-C720954D46D0}" dt="2023-10-04T10:15:39.905" v="3489" actId="478"/>
          <ac:spMkLst>
            <pc:docMk/>
            <pc:sldMk cId="4173117176" sldId="2551"/>
            <ac:spMk id="7" creationId="{F507981B-B335-E2AE-6486-7C43348BF5D0}"/>
          </ac:spMkLst>
        </pc:spChg>
        <pc:spChg chg="del">
          <ac:chgData name="Tristan MURATORE" userId="bba1d389-e75f-4912-b7b7-5ca422ed5333" providerId="ADAL" clId="{F11B1294-5997-4A19-8D57-C720954D46D0}" dt="2023-10-04T10:14:48.424" v="3426" actId="478"/>
          <ac:spMkLst>
            <pc:docMk/>
            <pc:sldMk cId="4173117176" sldId="2551"/>
            <ac:spMk id="8" creationId="{1F4B4416-92D8-E8F4-B97B-999CF4DC864D}"/>
          </ac:spMkLst>
        </pc:spChg>
        <pc:spChg chg="del">
          <ac:chgData name="Tristan MURATORE" userId="bba1d389-e75f-4912-b7b7-5ca422ed5333" providerId="ADAL" clId="{F11B1294-5997-4A19-8D57-C720954D46D0}" dt="2023-10-04T10:14:48.424" v="3426" actId="478"/>
          <ac:spMkLst>
            <pc:docMk/>
            <pc:sldMk cId="4173117176" sldId="2551"/>
            <ac:spMk id="9" creationId="{C7E69E75-7228-D900-AC17-EAA9527FE9EB}"/>
          </ac:spMkLst>
        </pc:spChg>
        <pc:spChg chg="del">
          <ac:chgData name="Tristan MURATORE" userId="bba1d389-e75f-4912-b7b7-5ca422ed5333" providerId="ADAL" clId="{F11B1294-5997-4A19-8D57-C720954D46D0}" dt="2023-10-04T10:14:48.424" v="3426" actId="478"/>
          <ac:spMkLst>
            <pc:docMk/>
            <pc:sldMk cId="4173117176" sldId="2551"/>
            <ac:spMk id="10" creationId="{747CEB2C-AF2F-D614-B6BB-A8C7C1C749AA}"/>
          </ac:spMkLst>
        </pc:spChg>
        <pc:spChg chg="add del mod">
          <ac:chgData name="Tristan MURATORE" userId="bba1d389-e75f-4912-b7b7-5ca422ed5333" providerId="ADAL" clId="{F11B1294-5997-4A19-8D57-C720954D46D0}" dt="2023-10-04T10:17:03.340" v="3537" actId="478"/>
          <ac:spMkLst>
            <pc:docMk/>
            <pc:sldMk cId="4173117176" sldId="2551"/>
            <ac:spMk id="11" creationId="{B8CB975F-0144-F48F-444D-9066AE6DF48B}"/>
          </ac:spMkLst>
        </pc:spChg>
        <pc:spChg chg="del">
          <ac:chgData name="Tristan MURATORE" userId="bba1d389-e75f-4912-b7b7-5ca422ed5333" providerId="ADAL" clId="{F11B1294-5997-4A19-8D57-C720954D46D0}" dt="2023-10-04T10:14:48.424" v="3426" actId="478"/>
          <ac:spMkLst>
            <pc:docMk/>
            <pc:sldMk cId="4173117176" sldId="2551"/>
            <ac:spMk id="18" creationId="{E8B25EDB-49E2-E49F-67AF-4159D5CA75BB}"/>
          </ac:spMkLst>
        </pc:spChg>
        <pc:spChg chg="del">
          <ac:chgData name="Tristan MURATORE" userId="bba1d389-e75f-4912-b7b7-5ca422ed5333" providerId="ADAL" clId="{F11B1294-5997-4A19-8D57-C720954D46D0}" dt="2023-10-04T10:14:48.424" v="3426" actId="478"/>
          <ac:spMkLst>
            <pc:docMk/>
            <pc:sldMk cId="4173117176" sldId="2551"/>
            <ac:spMk id="19" creationId="{89DCCE1C-3B2E-EFC6-2F84-CE28ACCEE2F0}"/>
          </ac:spMkLst>
        </pc:spChg>
        <pc:spChg chg="del">
          <ac:chgData name="Tristan MURATORE" userId="bba1d389-e75f-4912-b7b7-5ca422ed5333" providerId="ADAL" clId="{F11B1294-5997-4A19-8D57-C720954D46D0}" dt="2023-10-04T10:14:48.424" v="3426" actId="478"/>
          <ac:spMkLst>
            <pc:docMk/>
            <pc:sldMk cId="4173117176" sldId="2551"/>
            <ac:spMk id="20" creationId="{F1F69154-42A5-7A02-56F3-128A75320C43}"/>
          </ac:spMkLst>
        </pc:spChg>
        <pc:spChg chg="del">
          <ac:chgData name="Tristan MURATORE" userId="bba1d389-e75f-4912-b7b7-5ca422ed5333" providerId="ADAL" clId="{F11B1294-5997-4A19-8D57-C720954D46D0}" dt="2023-10-04T10:14:48.424" v="3426" actId="478"/>
          <ac:spMkLst>
            <pc:docMk/>
            <pc:sldMk cId="4173117176" sldId="2551"/>
            <ac:spMk id="25" creationId="{3DCA19D1-0C9B-B0C5-6D17-42E398D3E78A}"/>
          </ac:spMkLst>
        </pc:spChg>
        <pc:spChg chg="del">
          <ac:chgData name="Tristan MURATORE" userId="bba1d389-e75f-4912-b7b7-5ca422ed5333" providerId="ADAL" clId="{F11B1294-5997-4A19-8D57-C720954D46D0}" dt="2023-10-04T10:14:48.424" v="3426" actId="478"/>
          <ac:spMkLst>
            <pc:docMk/>
            <pc:sldMk cId="4173117176" sldId="2551"/>
            <ac:spMk id="27" creationId="{15CC6683-2045-5078-5571-C822E4CD5025}"/>
          </ac:spMkLst>
        </pc:spChg>
      </pc:sldChg>
      <pc:sldChg chg="del">
        <pc:chgData name="Tristan MURATORE" userId="bba1d389-e75f-4912-b7b7-5ca422ed5333" providerId="ADAL" clId="{F11B1294-5997-4A19-8D57-C720954D46D0}" dt="2023-10-02T13:21:12.274" v="107" actId="47"/>
        <pc:sldMkLst>
          <pc:docMk/>
          <pc:sldMk cId="446485606" sldId="3083"/>
        </pc:sldMkLst>
      </pc:sldChg>
      <pc:sldChg chg="del">
        <pc:chgData name="Tristan MURATORE" userId="bba1d389-e75f-4912-b7b7-5ca422ed5333" providerId="ADAL" clId="{F11B1294-5997-4A19-8D57-C720954D46D0}" dt="2023-10-02T13:21:05.937" v="106" actId="47"/>
        <pc:sldMkLst>
          <pc:docMk/>
          <pc:sldMk cId="3157075720" sldId="2134805444"/>
        </pc:sldMkLst>
      </pc:sldChg>
      <pc:sldChg chg="del">
        <pc:chgData name="Tristan MURATORE" userId="bba1d389-e75f-4912-b7b7-5ca422ed5333" providerId="ADAL" clId="{F11B1294-5997-4A19-8D57-C720954D46D0}" dt="2023-10-02T13:21:05.937" v="106" actId="47"/>
        <pc:sldMkLst>
          <pc:docMk/>
          <pc:sldMk cId="2972279945" sldId="2134805445"/>
        </pc:sldMkLst>
      </pc:sldChg>
      <pc:sldChg chg="del">
        <pc:chgData name="Tristan MURATORE" userId="bba1d389-e75f-4912-b7b7-5ca422ed5333" providerId="ADAL" clId="{F11B1294-5997-4A19-8D57-C720954D46D0}" dt="2023-10-02T13:21:05.937" v="106" actId="47"/>
        <pc:sldMkLst>
          <pc:docMk/>
          <pc:sldMk cId="3303834657" sldId="2147469864"/>
        </pc:sldMkLst>
      </pc:sldChg>
      <pc:sldChg chg="del">
        <pc:chgData name="Tristan MURATORE" userId="bba1d389-e75f-4912-b7b7-5ca422ed5333" providerId="ADAL" clId="{F11B1294-5997-4A19-8D57-C720954D46D0}" dt="2023-10-02T13:21:05.937" v="106" actId="47"/>
        <pc:sldMkLst>
          <pc:docMk/>
          <pc:sldMk cId="2219784420" sldId="2147469865"/>
        </pc:sldMkLst>
      </pc:sldChg>
      <pc:sldMasterChg chg="delSldLayout">
        <pc:chgData name="Tristan MURATORE" userId="bba1d389-e75f-4912-b7b7-5ca422ed5333" providerId="ADAL" clId="{F11B1294-5997-4A19-8D57-C720954D46D0}" dt="2023-10-02T13:21:12.274" v="107" actId="47"/>
        <pc:sldMasterMkLst>
          <pc:docMk/>
          <pc:sldMasterMk cId="2113548271" sldId="2147483660"/>
        </pc:sldMasterMkLst>
        <pc:sldLayoutChg chg="del">
          <pc:chgData name="Tristan MURATORE" userId="bba1d389-e75f-4912-b7b7-5ca422ed5333" providerId="ADAL" clId="{F11B1294-5997-4A19-8D57-C720954D46D0}" dt="2023-10-02T13:21:12.274" v="107" actId="47"/>
          <pc:sldLayoutMkLst>
            <pc:docMk/>
            <pc:sldMasterMk cId="2113548271" sldId="2147483660"/>
            <pc:sldLayoutMk cId="1070323921" sldId="2147483669"/>
          </pc:sldLayoutMkLst>
        </pc:sldLayoutChg>
      </pc:sldMasterChg>
    </pc:docChg>
  </pc:docChgLst>
  <pc:docChgLst>
    <pc:chgData name="Jérémy SITRUK" userId="S::jeremy.sitruk@accuracy.com::84656a0e-2275-4489-822a-a503fca2aa23" providerId="AD" clId="Web-{6239FB80-AB77-C46E-F468-A8D4589CE0F1}"/>
    <pc:docChg chg="modSld">
      <pc:chgData name="Jérémy SITRUK" userId="S::jeremy.sitruk@accuracy.com::84656a0e-2275-4489-822a-a503fca2aa23" providerId="AD" clId="Web-{6239FB80-AB77-C46E-F468-A8D4589CE0F1}" dt="2023-10-04T09:12:19.636" v="0" actId="20577"/>
      <pc:docMkLst>
        <pc:docMk/>
      </pc:docMkLst>
      <pc:sldChg chg="modSp">
        <pc:chgData name="Jérémy SITRUK" userId="S::jeremy.sitruk@accuracy.com::84656a0e-2275-4489-822a-a503fca2aa23" providerId="AD" clId="Web-{6239FB80-AB77-C46E-F468-A8D4589CE0F1}" dt="2023-10-04T09:12:19.636" v="0" actId="20577"/>
        <pc:sldMkLst>
          <pc:docMk/>
          <pc:sldMk cId="598050273" sldId="2538"/>
        </pc:sldMkLst>
        <pc:spChg chg="mod">
          <ac:chgData name="Jérémy SITRUK" userId="S::jeremy.sitruk@accuracy.com::84656a0e-2275-4489-822a-a503fca2aa23" providerId="AD" clId="Web-{6239FB80-AB77-C46E-F468-A8D4589CE0F1}" dt="2023-10-04T09:12:19.636" v="0" actId="20577"/>
          <ac:spMkLst>
            <pc:docMk/>
            <pc:sldMk cId="598050273" sldId="2538"/>
            <ac:spMk id="11" creationId="{15F87CDA-3CF2-08FE-A06E-063EA85CEB7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ED3208-A734-4BA5-BC17-3B6256291F2A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0E20E2-3A08-4F3E-BA66-D41795EF0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217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hyperlink" Target="http://www.accuracy.com/" TargetMode="Externa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5878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1" y="-63000"/>
            <a:ext cx="3865331" cy="6984000"/>
          </a:xfrm>
          <a:custGeom>
            <a:avLst/>
            <a:gdLst>
              <a:gd name="connsiteX0" fmla="*/ 3854449 w 7346449"/>
              <a:gd name="connsiteY0" fmla="*/ 602480 h 8188960"/>
              <a:gd name="connsiteX1" fmla="*/ 7346449 w 7346449"/>
              <a:gd name="connsiteY1" fmla="*/ 4094480 h 8188960"/>
              <a:gd name="connsiteX2" fmla="*/ 3854449 w 7346449"/>
              <a:gd name="connsiteY2" fmla="*/ 7586480 h 8188960"/>
              <a:gd name="connsiteX3" fmla="*/ 3322652 w 7346449"/>
              <a:gd name="connsiteY3" fmla="*/ 7546245 h 8188960"/>
              <a:gd name="connsiteX4" fmla="*/ 3319779 w 7346449"/>
              <a:gd name="connsiteY4" fmla="*/ 7545732 h 8188960"/>
              <a:gd name="connsiteX5" fmla="*/ 3319779 w 7346449"/>
              <a:gd name="connsiteY5" fmla="*/ 643229 h 8188960"/>
              <a:gd name="connsiteX6" fmla="*/ 3322652 w 7346449"/>
              <a:gd name="connsiteY6" fmla="*/ 642716 h 8188960"/>
              <a:gd name="connsiteX7" fmla="*/ 3854449 w 7346449"/>
              <a:gd name="connsiteY7" fmla="*/ 602480 h 8188960"/>
              <a:gd name="connsiteX8" fmla="*/ 0 w 7346449"/>
              <a:gd name="connsiteY8" fmla="*/ 0 h 8188960"/>
              <a:gd name="connsiteX9" fmla="*/ 3319779 w 7346449"/>
              <a:gd name="connsiteY9" fmla="*/ 0 h 8188960"/>
              <a:gd name="connsiteX10" fmla="*/ 3319779 w 7346449"/>
              <a:gd name="connsiteY10" fmla="*/ 643229 h 8188960"/>
              <a:gd name="connsiteX11" fmla="*/ 3150689 w 7346449"/>
              <a:gd name="connsiteY11" fmla="*/ 673425 h 8188960"/>
              <a:gd name="connsiteX12" fmla="*/ 362449 w 7346449"/>
              <a:gd name="connsiteY12" fmla="*/ 4094480 h 8188960"/>
              <a:gd name="connsiteX13" fmla="*/ 3150689 w 7346449"/>
              <a:gd name="connsiteY13" fmla="*/ 7515535 h 8188960"/>
              <a:gd name="connsiteX14" fmla="*/ 3319779 w 7346449"/>
              <a:gd name="connsiteY14" fmla="*/ 7545732 h 8188960"/>
              <a:gd name="connsiteX15" fmla="*/ 3319779 w 7346449"/>
              <a:gd name="connsiteY15" fmla="*/ 8188960 h 8188960"/>
              <a:gd name="connsiteX16" fmla="*/ 0 w 7346449"/>
              <a:gd name="connsiteY16" fmla="*/ 8188960 h 8188960"/>
              <a:gd name="connsiteX0" fmla="*/ 3854449 w 7346449"/>
              <a:gd name="connsiteY0" fmla="*/ 602480 h 8188960"/>
              <a:gd name="connsiteX1" fmla="*/ 7346449 w 7346449"/>
              <a:gd name="connsiteY1" fmla="*/ 4094480 h 8188960"/>
              <a:gd name="connsiteX2" fmla="*/ 3854449 w 7346449"/>
              <a:gd name="connsiteY2" fmla="*/ 7586480 h 8188960"/>
              <a:gd name="connsiteX3" fmla="*/ 3322652 w 7346449"/>
              <a:gd name="connsiteY3" fmla="*/ 7546245 h 8188960"/>
              <a:gd name="connsiteX4" fmla="*/ 3319779 w 7346449"/>
              <a:gd name="connsiteY4" fmla="*/ 7545732 h 8188960"/>
              <a:gd name="connsiteX5" fmla="*/ 3319779 w 7346449"/>
              <a:gd name="connsiteY5" fmla="*/ 643229 h 8188960"/>
              <a:gd name="connsiteX6" fmla="*/ 3322652 w 7346449"/>
              <a:gd name="connsiteY6" fmla="*/ 642716 h 8188960"/>
              <a:gd name="connsiteX7" fmla="*/ 3854449 w 7346449"/>
              <a:gd name="connsiteY7" fmla="*/ 602480 h 8188960"/>
              <a:gd name="connsiteX8" fmla="*/ 0 w 7346449"/>
              <a:gd name="connsiteY8" fmla="*/ 8188960 h 8188960"/>
              <a:gd name="connsiteX9" fmla="*/ 3319779 w 7346449"/>
              <a:gd name="connsiteY9" fmla="*/ 0 h 8188960"/>
              <a:gd name="connsiteX10" fmla="*/ 3319779 w 7346449"/>
              <a:gd name="connsiteY10" fmla="*/ 643229 h 8188960"/>
              <a:gd name="connsiteX11" fmla="*/ 3150689 w 7346449"/>
              <a:gd name="connsiteY11" fmla="*/ 673425 h 8188960"/>
              <a:gd name="connsiteX12" fmla="*/ 362449 w 7346449"/>
              <a:gd name="connsiteY12" fmla="*/ 4094480 h 8188960"/>
              <a:gd name="connsiteX13" fmla="*/ 3150689 w 7346449"/>
              <a:gd name="connsiteY13" fmla="*/ 7515535 h 8188960"/>
              <a:gd name="connsiteX14" fmla="*/ 3319779 w 7346449"/>
              <a:gd name="connsiteY14" fmla="*/ 7545732 h 8188960"/>
              <a:gd name="connsiteX15" fmla="*/ 3319779 w 7346449"/>
              <a:gd name="connsiteY15" fmla="*/ 8188960 h 8188960"/>
              <a:gd name="connsiteX16" fmla="*/ 0 w 7346449"/>
              <a:gd name="connsiteY16" fmla="*/ 8188960 h 8188960"/>
              <a:gd name="connsiteX0" fmla="*/ 3854449 w 7346449"/>
              <a:gd name="connsiteY0" fmla="*/ 0 h 7586480"/>
              <a:gd name="connsiteX1" fmla="*/ 7346449 w 7346449"/>
              <a:gd name="connsiteY1" fmla="*/ 3492000 h 7586480"/>
              <a:gd name="connsiteX2" fmla="*/ 3854449 w 7346449"/>
              <a:gd name="connsiteY2" fmla="*/ 6984000 h 7586480"/>
              <a:gd name="connsiteX3" fmla="*/ 3322652 w 7346449"/>
              <a:gd name="connsiteY3" fmla="*/ 6943765 h 7586480"/>
              <a:gd name="connsiteX4" fmla="*/ 3319779 w 7346449"/>
              <a:gd name="connsiteY4" fmla="*/ 6943252 h 7586480"/>
              <a:gd name="connsiteX5" fmla="*/ 3319779 w 7346449"/>
              <a:gd name="connsiteY5" fmla="*/ 40749 h 7586480"/>
              <a:gd name="connsiteX6" fmla="*/ 3322652 w 7346449"/>
              <a:gd name="connsiteY6" fmla="*/ 40236 h 7586480"/>
              <a:gd name="connsiteX7" fmla="*/ 3854449 w 7346449"/>
              <a:gd name="connsiteY7" fmla="*/ 0 h 7586480"/>
              <a:gd name="connsiteX8" fmla="*/ 0 w 7346449"/>
              <a:gd name="connsiteY8" fmla="*/ 7586480 h 7586480"/>
              <a:gd name="connsiteX9" fmla="*/ 3319779 w 7346449"/>
              <a:gd name="connsiteY9" fmla="*/ 40749 h 7586480"/>
              <a:gd name="connsiteX10" fmla="*/ 3150689 w 7346449"/>
              <a:gd name="connsiteY10" fmla="*/ 70945 h 7586480"/>
              <a:gd name="connsiteX11" fmla="*/ 362449 w 7346449"/>
              <a:gd name="connsiteY11" fmla="*/ 3492000 h 7586480"/>
              <a:gd name="connsiteX12" fmla="*/ 3150689 w 7346449"/>
              <a:gd name="connsiteY12" fmla="*/ 6913055 h 7586480"/>
              <a:gd name="connsiteX13" fmla="*/ 3319779 w 7346449"/>
              <a:gd name="connsiteY13" fmla="*/ 6943252 h 7586480"/>
              <a:gd name="connsiteX14" fmla="*/ 3319779 w 7346449"/>
              <a:gd name="connsiteY14" fmla="*/ 7586480 h 7586480"/>
              <a:gd name="connsiteX15" fmla="*/ 0 w 7346449"/>
              <a:gd name="connsiteY15" fmla="*/ 7586480 h 7586480"/>
              <a:gd name="connsiteX0" fmla="*/ 3492000 w 6984000"/>
              <a:gd name="connsiteY0" fmla="*/ 0 h 7586480"/>
              <a:gd name="connsiteX1" fmla="*/ 6984000 w 6984000"/>
              <a:gd name="connsiteY1" fmla="*/ 3492000 h 7586480"/>
              <a:gd name="connsiteX2" fmla="*/ 3492000 w 6984000"/>
              <a:gd name="connsiteY2" fmla="*/ 6984000 h 7586480"/>
              <a:gd name="connsiteX3" fmla="*/ 2960203 w 6984000"/>
              <a:gd name="connsiteY3" fmla="*/ 6943765 h 7586480"/>
              <a:gd name="connsiteX4" fmla="*/ 2957330 w 6984000"/>
              <a:gd name="connsiteY4" fmla="*/ 6943252 h 7586480"/>
              <a:gd name="connsiteX5" fmla="*/ 2957330 w 6984000"/>
              <a:gd name="connsiteY5" fmla="*/ 40749 h 7586480"/>
              <a:gd name="connsiteX6" fmla="*/ 2960203 w 6984000"/>
              <a:gd name="connsiteY6" fmla="*/ 40236 h 7586480"/>
              <a:gd name="connsiteX7" fmla="*/ 3492000 w 6984000"/>
              <a:gd name="connsiteY7" fmla="*/ 0 h 7586480"/>
              <a:gd name="connsiteX8" fmla="*/ 2957330 w 6984000"/>
              <a:gd name="connsiteY8" fmla="*/ 7586480 h 7586480"/>
              <a:gd name="connsiteX9" fmla="*/ 2957330 w 6984000"/>
              <a:gd name="connsiteY9" fmla="*/ 40749 h 7586480"/>
              <a:gd name="connsiteX10" fmla="*/ 2788240 w 6984000"/>
              <a:gd name="connsiteY10" fmla="*/ 70945 h 7586480"/>
              <a:gd name="connsiteX11" fmla="*/ 0 w 6984000"/>
              <a:gd name="connsiteY11" fmla="*/ 3492000 h 7586480"/>
              <a:gd name="connsiteX12" fmla="*/ 2788240 w 6984000"/>
              <a:gd name="connsiteY12" fmla="*/ 6913055 h 7586480"/>
              <a:gd name="connsiteX13" fmla="*/ 2957330 w 6984000"/>
              <a:gd name="connsiteY13" fmla="*/ 6943252 h 7586480"/>
              <a:gd name="connsiteX14" fmla="*/ 2957330 w 6984000"/>
              <a:gd name="connsiteY14" fmla="*/ 7586480 h 7586480"/>
              <a:gd name="connsiteX0" fmla="*/ 3492000 w 6984000"/>
              <a:gd name="connsiteY0" fmla="*/ 0 h 6984000"/>
              <a:gd name="connsiteX1" fmla="*/ 6984000 w 6984000"/>
              <a:gd name="connsiteY1" fmla="*/ 3492000 h 6984000"/>
              <a:gd name="connsiteX2" fmla="*/ 3492000 w 6984000"/>
              <a:gd name="connsiteY2" fmla="*/ 6984000 h 6984000"/>
              <a:gd name="connsiteX3" fmla="*/ 2960203 w 6984000"/>
              <a:gd name="connsiteY3" fmla="*/ 6943765 h 6984000"/>
              <a:gd name="connsiteX4" fmla="*/ 2957330 w 6984000"/>
              <a:gd name="connsiteY4" fmla="*/ 6943252 h 6984000"/>
              <a:gd name="connsiteX5" fmla="*/ 2957330 w 6984000"/>
              <a:gd name="connsiteY5" fmla="*/ 40749 h 6984000"/>
              <a:gd name="connsiteX6" fmla="*/ 2960203 w 6984000"/>
              <a:gd name="connsiteY6" fmla="*/ 40236 h 6984000"/>
              <a:gd name="connsiteX7" fmla="*/ 3492000 w 6984000"/>
              <a:gd name="connsiteY7" fmla="*/ 0 h 6984000"/>
              <a:gd name="connsiteX8" fmla="*/ 2957330 w 6984000"/>
              <a:gd name="connsiteY8" fmla="*/ 6943252 h 6984000"/>
              <a:gd name="connsiteX9" fmla="*/ 2957330 w 6984000"/>
              <a:gd name="connsiteY9" fmla="*/ 40749 h 6984000"/>
              <a:gd name="connsiteX10" fmla="*/ 2788240 w 6984000"/>
              <a:gd name="connsiteY10" fmla="*/ 70945 h 6984000"/>
              <a:gd name="connsiteX11" fmla="*/ 0 w 6984000"/>
              <a:gd name="connsiteY11" fmla="*/ 3492000 h 6984000"/>
              <a:gd name="connsiteX12" fmla="*/ 2788240 w 6984000"/>
              <a:gd name="connsiteY12" fmla="*/ 6913055 h 6984000"/>
              <a:gd name="connsiteX13" fmla="*/ 2957330 w 6984000"/>
              <a:gd name="connsiteY13" fmla="*/ 6943252 h 6984000"/>
              <a:gd name="connsiteX0" fmla="*/ 3492000 w 6984000"/>
              <a:gd name="connsiteY0" fmla="*/ 0 h 6984000"/>
              <a:gd name="connsiteX1" fmla="*/ 6984000 w 6984000"/>
              <a:gd name="connsiteY1" fmla="*/ 3492000 h 6984000"/>
              <a:gd name="connsiteX2" fmla="*/ 3492000 w 6984000"/>
              <a:gd name="connsiteY2" fmla="*/ 6984000 h 6984000"/>
              <a:gd name="connsiteX3" fmla="*/ 2960203 w 6984000"/>
              <a:gd name="connsiteY3" fmla="*/ 6943765 h 6984000"/>
              <a:gd name="connsiteX4" fmla="*/ 2957330 w 6984000"/>
              <a:gd name="connsiteY4" fmla="*/ 6943252 h 6984000"/>
              <a:gd name="connsiteX5" fmla="*/ 2957330 w 6984000"/>
              <a:gd name="connsiteY5" fmla="*/ 40749 h 6984000"/>
              <a:gd name="connsiteX6" fmla="*/ 2960203 w 6984000"/>
              <a:gd name="connsiteY6" fmla="*/ 40236 h 6984000"/>
              <a:gd name="connsiteX7" fmla="*/ 3492000 w 6984000"/>
              <a:gd name="connsiteY7" fmla="*/ 0 h 6984000"/>
              <a:gd name="connsiteX8" fmla="*/ 2957330 w 6984000"/>
              <a:gd name="connsiteY8" fmla="*/ 6943252 h 6984000"/>
              <a:gd name="connsiteX9" fmla="*/ 2957330 w 6984000"/>
              <a:gd name="connsiteY9" fmla="*/ 40749 h 6984000"/>
              <a:gd name="connsiteX10" fmla="*/ 0 w 6984000"/>
              <a:gd name="connsiteY10" fmla="*/ 3492000 h 6984000"/>
              <a:gd name="connsiteX11" fmla="*/ 2788240 w 6984000"/>
              <a:gd name="connsiteY11" fmla="*/ 6913055 h 6984000"/>
              <a:gd name="connsiteX12" fmla="*/ 2957330 w 6984000"/>
              <a:gd name="connsiteY12" fmla="*/ 6943252 h 6984000"/>
              <a:gd name="connsiteX0" fmla="*/ 703760 w 4195760"/>
              <a:gd name="connsiteY0" fmla="*/ 0 h 6984000"/>
              <a:gd name="connsiteX1" fmla="*/ 4195760 w 4195760"/>
              <a:gd name="connsiteY1" fmla="*/ 3492000 h 6984000"/>
              <a:gd name="connsiteX2" fmla="*/ 703760 w 4195760"/>
              <a:gd name="connsiteY2" fmla="*/ 6984000 h 6984000"/>
              <a:gd name="connsiteX3" fmla="*/ 171963 w 4195760"/>
              <a:gd name="connsiteY3" fmla="*/ 6943765 h 6984000"/>
              <a:gd name="connsiteX4" fmla="*/ 169090 w 4195760"/>
              <a:gd name="connsiteY4" fmla="*/ 6943252 h 6984000"/>
              <a:gd name="connsiteX5" fmla="*/ 169090 w 4195760"/>
              <a:gd name="connsiteY5" fmla="*/ 40749 h 6984000"/>
              <a:gd name="connsiteX6" fmla="*/ 171963 w 4195760"/>
              <a:gd name="connsiteY6" fmla="*/ 40236 h 6984000"/>
              <a:gd name="connsiteX7" fmla="*/ 703760 w 4195760"/>
              <a:gd name="connsiteY7" fmla="*/ 0 h 6984000"/>
              <a:gd name="connsiteX8" fmla="*/ 169090 w 4195760"/>
              <a:gd name="connsiteY8" fmla="*/ 6943252 h 6984000"/>
              <a:gd name="connsiteX9" fmla="*/ 169090 w 4195760"/>
              <a:gd name="connsiteY9" fmla="*/ 40749 h 6984000"/>
              <a:gd name="connsiteX10" fmla="*/ 0 w 4195760"/>
              <a:gd name="connsiteY10" fmla="*/ 6913055 h 6984000"/>
              <a:gd name="connsiteX11" fmla="*/ 169090 w 4195760"/>
              <a:gd name="connsiteY11" fmla="*/ 6943252 h 6984000"/>
              <a:gd name="connsiteX0" fmla="*/ 534670 w 4026670"/>
              <a:gd name="connsiteY0" fmla="*/ 0 h 6984000"/>
              <a:gd name="connsiteX1" fmla="*/ 4026670 w 4026670"/>
              <a:gd name="connsiteY1" fmla="*/ 3492000 h 6984000"/>
              <a:gd name="connsiteX2" fmla="*/ 534670 w 4026670"/>
              <a:gd name="connsiteY2" fmla="*/ 6984000 h 6984000"/>
              <a:gd name="connsiteX3" fmla="*/ 2873 w 4026670"/>
              <a:gd name="connsiteY3" fmla="*/ 6943765 h 6984000"/>
              <a:gd name="connsiteX4" fmla="*/ 0 w 4026670"/>
              <a:gd name="connsiteY4" fmla="*/ 6943252 h 6984000"/>
              <a:gd name="connsiteX5" fmla="*/ 0 w 4026670"/>
              <a:gd name="connsiteY5" fmla="*/ 40749 h 6984000"/>
              <a:gd name="connsiteX6" fmla="*/ 2873 w 4026670"/>
              <a:gd name="connsiteY6" fmla="*/ 40236 h 6984000"/>
              <a:gd name="connsiteX7" fmla="*/ 534670 w 4026670"/>
              <a:gd name="connsiteY7" fmla="*/ 0 h 6984000"/>
              <a:gd name="connsiteX8" fmla="*/ 0 w 4026670"/>
              <a:gd name="connsiteY8" fmla="*/ 6943252 h 6984000"/>
              <a:gd name="connsiteX9" fmla="*/ 0 w 4026670"/>
              <a:gd name="connsiteY9" fmla="*/ 40749 h 6984000"/>
              <a:gd name="connsiteX10" fmla="*/ 0 w 4026670"/>
              <a:gd name="connsiteY10" fmla="*/ 6943252 h 69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26670" h="6984000">
                <a:moveTo>
                  <a:pt x="534670" y="0"/>
                </a:moveTo>
                <a:cubicBezTo>
                  <a:pt x="2463248" y="0"/>
                  <a:pt x="4026670" y="1563422"/>
                  <a:pt x="4026670" y="3492000"/>
                </a:cubicBezTo>
                <a:cubicBezTo>
                  <a:pt x="4026670" y="5420578"/>
                  <a:pt x="2463248" y="6984000"/>
                  <a:pt x="534670" y="6984000"/>
                </a:cubicBezTo>
                <a:cubicBezTo>
                  <a:pt x="353866" y="6984000"/>
                  <a:pt x="176271" y="6970259"/>
                  <a:pt x="2873" y="6943765"/>
                </a:cubicBezTo>
                <a:lnTo>
                  <a:pt x="0" y="6943252"/>
                </a:lnTo>
                <a:lnTo>
                  <a:pt x="0" y="40749"/>
                </a:lnTo>
                <a:lnTo>
                  <a:pt x="2873" y="40236"/>
                </a:lnTo>
                <a:cubicBezTo>
                  <a:pt x="176271" y="13741"/>
                  <a:pt x="353866" y="0"/>
                  <a:pt x="534670" y="0"/>
                </a:cubicBezTo>
                <a:close/>
                <a:moveTo>
                  <a:pt x="0" y="6943252"/>
                </a:moveTo>
                <a:lnTo>
                  <a:pt x="0" y="40749"/>
                </a:lnTo>
                <a:lnTo>
                  <a:pt x="0" y="69432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square" tIns="684000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49" name="Text Placeholder 48"/>
          <p:cNvSpPr>
            <a:spLocks noGrp="1"/>
          </p:cNvSpPr>
          <p:nvPr>
            <p:ph type="body" sz="quarter" idx="13" hasCustomPrompt="1"/>
          </p:nvPr>
        </p:nvSpPr>
        <p:spPr>
          <a:xfrm>
            <a:off x="3943350" y="6151262"/>
            <a:ext cx="6660112" cy="200055"/>
          </a:xfrm>
        </p:spPr>
        <p:txBody>
          <a:bodyPr wrap="square">
            <a:spAutoFit/>
          </a:bodyPr>
          <a:lstStyle>
            <a:lvl1pPr>
              <a:defRPr sz="130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122536" y="4011447"/>
            <a:ext cx="6482089" cy="290849"/>
          </a:xfrm>
          <a:noFill/>
        </p:spPr>
        <p:txBody>
          <a:bodyPr wrap="square" lIns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100" baseline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subtitle</a:t>
            </a:r>
            <a:endParaRPr lang="fr-FR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122536" y="3178650"/>
            <a:ext cx="6482089" cy="401648"/>
          </a:xfrm>
          <a:noFill/>
        </p:spPr>
        <p:txBody>
          <a:bodyPr wrap="square" lIns="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900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7" name="Freeform 6"/>
          <p:cNvSpPr>
            <a:spLocks noChangeAspect="1"/>
          </p:cNvSpPr>
          <p:nvPr/>
        </p:nvSpPr>
        <p:spPr bwMode="auto">
          <a:xfrm>
            <a:off x="-6137" y="-135000"/>
            <a:ext cx="3949487" cy="7128000"/>
          </a:xfrm>
          <a:custGeom>
            <a:avLst/>
            <a:gdLst>
              <a:gd name="T0" fmla="*/ 0 w 1424"/>
              <a:gd name="T1" fmla="*/ 14 h 2476"/>
              <a:gd name="T2" fmla="*/ 187 w 1424"/>
              <a:gd name="T3" fmla="*/ 0 h 2476"/>
              <a:gd name="T4" fmla="*/ 1424 w 1424"/>
              <a:gd name="T5" fmla="*/ 1238 h 2476"/>
              <a:gd name="T6" fmla="*/ 187 w 1424"/>
              <a:gd name="T7" fmla="*/ 2476 h 2476"/>
              <a:gd name="T8" fmla="*/ 0 w 1424"/>
              <a:gd name="T9" fmla="*/ 2462 h 2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24" h="2476">
                <a:moveTo>
                  <a:pt x="0" y="14"/>
                </a:moveTo>
                <a:cubicBezTo>
                  <a:pt x="61" y="5"/>
                  <a:pt x="124" y="0"/>
                  <a:pt x="187" y="0"/>
                </a:cubicBezTo>
                <a:cubicBezTo>
                  <a:pt x="870" y="0"/>
                  <a:pt x="1424" y="554"/>
                  <a:pt x="1424" y="1238"/>
                </a:cubicBezTo>
                <a:cubicBezTo>
                  <a:pt x="1424" y="1922"/>
                  <a:pt x="870" y="2476"/>
                  <a:pt x="187" y="2476"/>
                </a:cubicBezTo>
                <a:cubicBezTo>
                  <a:pt x="124" y="2476"/>
                  <a:pt x="61" y="2471"/>
                  <a:pt x="0" y="2462"/>
                </a:cubicBezTo>
              </a:path>
            </a:pathLst>
          </a:custGeom>
          <a:noFill/>
          <a:ln w="25400" cap="rnd">
            <a:solidFill>
              <a:schemeClr val="accent1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9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517" y="504825"/>
            <a:ext cx="2080800" cy="955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3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3"/>
          </p:nvPr>
        </p:nvSpPr>
        <p:spPr>
          <a:xfrm>
            <a:off x="664675" y="721825"/>
            <a:ext cx="3636000" cy="3636000"/>
          </a:xfrm>
          <a:prstGeom prst="ellipse">
            <a:avLst/>
          </a:prstGeom>
          <a:solidFill>
            <a:schemeClr val="bg2">
              <a:alpha val="57000"/>
            </a:schemeClr>
          </a:solidFill>
          <a:effectLst/>
        </p:spPr>
        <p:txBody>
          <a:bodyPr tIns="50400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907901" y="2332076"/>
            <a:ext cx="6696723" cy="415498"/>
          </a:xfrm>
          <a:noFill/>
        </p:spPr>
        <p:txBody>
          <a:bodyPr wrap="square" lIns="0" tIns="0" bIns="0" anchor="ctr" anchorCtr="0">
            <a:spAutoFit/>
          </a:bodyPr>
          <a:lstStyle>
            <a:lvl1pPr>
              <a:spcBef>
                <a:spcPts val="600"/>
              </a:spcBef>
              <a:defRPr sz="2700" b="1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/>
              <a:t>Section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985" y="6077333"/>
            <a:ext cx="8255639" cy="292388"/>
          </a:xfrm>
          <a:solidFill>
            <a:schemeClr val="bg1"/>
          </a:solidFill>
        </p:spPr>
        <p:txBody>
          <a:bodyPr wrap="square" lIns="0" tIns="0" bIns="0" anchor="b" anchorCtr="0">
            <a:spAutoFit/>
          </a:bodyPr>
          <a:lstStyle>
            <a:lvl1pPr>
              <a:spcBef>
                <a:spcPts val="0"/>
              </a:spcBef>
              <a:defRPr sz="1900" baseline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25" name="Oval 24"/>
          <p:cNvSpPr/>
          <p:nvPr/>
        </p:nvSpPr>
        <p:spPr>
          <a:xfrm>
            <a:off x="574675" y="631825"/>
            <a:ext cx="3816000" cy="3816000"/>
          </a:xfrm>
          <a:prstGeom prst="ellipse">
            <a:avLst/>
          </a:prstGeom>
          <a:noFill/>
          <a:ln cap="rnd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/>
            <a:endParaRPr lang="fr-FR" sz="1357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0609" y="4705439"/>
            <a:ext cx="704132" cy="161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58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28820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-74984" y="-20652"/>
            <a:ext cx="361638" cy="2000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2300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4002"/>
            <a:ext cx="11029950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/>
              <a:t>Action </a:t>
            </a:r>
            <a:r>
              <a:rPr lang="fr-FR" err="1"/>
              <a:t>title</a:t>
            </a:r>
            <a:r>
              <a:rPr lang="fr-FR"/>
              <a:t> (2 </a:t>
            </a:r>
            <a:r>
              <a:rPr lang="fr-FR" err="1"/>
              <a:t>lines</a:t>
            </a:r>
            <a:r>
              <a:rPr lang="fr-FR"/>
              <a:t> max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74675" y="857944"/>
            <a:ext cx="11029950" cy="531460"/>
          </a:xfrm>
          <a:noFill/>
        </p:spPr>
        <p:txBody>
          <a:bodyPr wrap="square" lIns="0" tIns="252000" rIns="0" bIns="0" anchor="t" anchorCtr="0">
            <a:spAutoFit/>
          </a:bodyPr>
          <a:lstStyle>
            <a:lvl1pPr>
              <a:defRPr sz="1700" cap="all" baseline="0">
                <a:solidFill>
                  <a:schemeClr val="accent5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/>
              <a:t>SUBTITLE (ALIGN BOX TOP ON ACTION TITLE’S BOTTOM LINE, 1 line max)</a:t>
            </a:r>
          </a:p>
        </p:txBody>
      </p:sp>
    </p:spTree>
    <p:extLst>
      <p:ext uri="{BB962C8B-B14F-4D97-AF65-F5344CB8AC3E}">
        <p14:creationId xmlns:p14="http://schemas.microsoft.com/office/powerpoint/2010/main" val="35825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avigator, source &amp;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389490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-74984" y="-20652"/>
            <a:ext cx="361638" cy="2000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2300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4002"/>
            <a:ext cx="11029950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0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/>
              <a:t>Action </a:t>
            </a:r>
            <a:r>
              <a:rPr lang="fr-FR" err="1"/>
              <a:t>title</a:t>
            </a:r>
            <a:r>
              <a:rPr lang="fr-FR"/>
              <a:t> (2 </a:t>
            </a:r>
            <a:r>
              <a:rPr lang="fr-FR" err="1"/>
              <a:t>lines</a:t>
            </a:r>
            <a:r>
              <a:rPr lang="fr-FR"/>
              <a:t> max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74675" y="857943"/>
            <a:ext cx="11029950" cy="531460"/>
          </a:xfrm>
          <a:noFill/>
        </p:spPr>
        <p:txBody>
          <a:bodyPr wrap="square" lIns="0" tIns="252000" rIns="0" bIns="0" anchor="t" anchorCtr="0">
            <a:spAutoFit/>
          </a:bodyPr>
          <a:lstStyle>
            <a:lvl1pPr>
              <a:defRPr sz="1700" cap="all" baseline="0">
                <a:solidFill>
                  <a:schemeClr val="accent5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/>
              <a:t>SUBTITLE (ALIGN BOX TOP ON ACTION TITLE’S BOTTOM LINE, 1 line max)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74675" y="216002"/>
            <a:ext cx="2074286" cy="138499"/>
          </a:xfr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spcCol="0" rtlCol="0" anchor="t" anchorCtr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900" b="1" baseline="0" smtClean="0">
                <a:solidFill>
                  <a:schemeClr val="accent1"/>
                </a:solidFill>
                <a:latin typeface="Century Gothic" panose="020B0502020202020204" pitchFamily="34" charset="0"/>
                <a:ea typeface="+mj-ea"/>
              </a:defRPr>
            </a:lvl1pPr>
            <a:lvl2pPr marL="92439" indent="0">
              <a:buFont typeface="Arial" panose="020B0604020202020204" pitchFamily="34" charset="0"/>
              <a:buNone/>
              <a:defRPr lang="en-US" sz="1809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 marL="733756" indent="0">
              <a:buNone/>
              <a:defRPr lang="en-US" sz="1809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 marL="1169097" indent="0">
              <a:buNone/>
              <a:defRPr lang="en-US" sz="1809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 marL="1610389" indent="0">
              <a:buNone/>
              <a:defRPr lang="fr-FR" sz="1809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eaLnBrk="0" fontAlgn="base" hangingPunct="0">
              <a:spcBef>
                <a:spcPts val="450"/>
              </a:spcBef>
              <a:spcAft>
                <a:spcPct val="0"/>
              </a:spcAft>
            </a:pPr>
            <a:r>
              <a:rPr lang="fr-FR"/>
              <a:t>Navigator </a:t>
            </a:r>
            <a:r>
              <a:rPr lang="fr-FR" err="1"/>
              <a:t>Level</a:t>
            </a:r>
            <a:r>
              <a:rPr lang="fr-FR"/>
              <a:t> 1 (</a:t>
            </a:r>
            <a:r>
              <a:rPr lang="fr-FR" err="1"/>
              <a:t>delete</a:t>
            </a:r>
            <a:r>
              <a:rPr lang="fr-FR"/>
              <a:t> if </a:t>
            </a:r>
            <a:r>
              <a:rPr lang="fr-FR" err="1"/>
              <a:t>empty</a:t>
            </a:r>
            <a:r>
              <a:rPr lang="fr-FR"/>
              <a:t>) //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74675" y="6279729"/>
            <a:ext cx="11029950" cy="130805"/>
          </a:xfrm>
        </p:spPr>
        <p:txBody>
          <a:bodyPr anchor="b" anchorCtr="0">
            <a:spAutoFit/>
          </a:bodyPr>
          <a:lstStyle>
            <a:lvl1pPr>
              <a:spcBef>
                <a:spcPts val="100"/>
              </a:spcBef>
              <a:defRPr sz="85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Source: xxx</a:t>
            </a:r>
            <a:endParaRPr lang="fr-FR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4675" y="6120001"/>
            <a:ext cx="11029950" cy="130805"/>
          </a:xfrm>
        </p:spPr>
        <p:txBody>
          <a:bodyPr anchor="b" anchorCtr="0">
            <a:spAutoFit/>
          </a:bodyPr>
          <a:lstStyle>
            <a:lvl1pPr marL="127000" indent="-127000">
              <a:spcBef>
                <a:spcPts val="100"/>
              </a:spcBef>
              <a:buFont typeface="+mj-lt"/>
              <a:buAutoNum type="arabicParenR"/>
              <a:defRPr sz="85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ote</a:t>
            </a:r>
            <a:endParaRPr lang="fr-FR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648961" y="216002"/>
            <a:ext cx="3531983" cy="138499"/>
          </a:xfr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0" bIns="0" spcCol="0" rtlCol="0" anchor="t" anchorCtr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900" baseline="0" smtClean="0">
                <a:solidFill>
                  <a:schemeClr val="accent5"/>
                </a:solidFill>
                <a:latin typeface="Century Gothic" panose="020B0502020202020204" pitchFamily="34" charset="0"/>
                <a:ea typeface="+mj-ea"/>
              </a:defRPr>
            </a:lvl1pPr>
            <a:lvl2pPr marL="92439" indent="0">
              <a:buFont typeface="Arial" panose="020B0604020202020204" pitchFamily="34" charset="0"/>
              <a:buNone/>
              <a:defRPr lang="en-US" sz="1809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 marL="733756" indent="0">
              <a:buNone/>
              <a:defRPr lang="en-US" sz="1809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 marL="1169097" indent="0">
              <a:buNone/>
              <a:defRPr lang="en-US" sz="1809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 marL="1610389" indent="0">
              <a:buNone/>
              <a:defRPr lang="fr-FR" sz="1809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eaLnBrk="0" fontAlgn="base" hangingPunct="0">
              <a:spcBef>
                <a:spcPts val="450"/>
              </a:spcBef>
              <a:spcAft>
                <a:spcPct val="0"/>
              </a:spcAft>
            </a:pPr>
            <a:r>
              <a:rPr lang="fr-FR"/>
              <a:t>Navigator </a:t>
            </a:r>
            <a:r>
              <a:rPr lang="fr-FR" err="1"/>
              <a:t>Level</a:t>
            </a:r>
            <a:r>
              <a:rPr lang="fr-FR"/>
              <a:t> 2 (</a:t>
            </a:r>
            <a:r>
              <a:rPr lang="fr-FR" err="1"/>
              <a:t>delete</a:t>
            </a:r>
            <a:r>
              <a:rPr lang="fr-FR"/>
              <a:t> if </a:t>
            </a:r>
            <a:r>
              <a:rPr lang="fr-FR" err="1"/>
              <a:t>empty</a:t>
            </a:r>
            <a:r>
              <a:rPr lang="fr-FR"/>
              <a:t>, </a:t>
            </a:r>
            <a:r>
              <a:rPr lang="fr-FR" err="1"/>
              <a:t>align</a:t>
            </a:r>
            <a:r>
              <a:rPr lang="fr-FR"/>
              <a:t> on </a:t>
            </a:r>
            <a:r>
              <a:rPr lang="fr-FR" err="1"/>
              <a:t>level</a:t>
            </a:r>
            <a:r>
              <a:rPr lang="fr-FR"/>
              <a:t> 1’s right </a:t>
            </a:r>
            <a:r>
              <a:rPr lang="fr-FR" err="1"/>
              <a:t>side</a:t>
            </a:r>
            <a:r>
              <a:rPr lang="fr-FR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6526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308725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ctr">
              <a:spcBef>
                <a:spcPts val="600"/>
              </a:spcBef>
              <a:buBlip>
                <a:blip r:embed="rId4"/>
              </a:buBlip>
            </a:pPr>
            <a:endParaRPr lang="en-GB" sz="1300" err="1">
              <a:solidFill>
                <a:schemeClr val="tx1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52748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-74984" y="-20652"/>
            <a:ext cx="361638" cy="2000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sz="2300" b="0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4002"/>
            <a:ext cx="11029950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/>
              <a:t>Action </a:t>
            </a:r>
            <a:r>
              <a:rPr lang="fr-FR" err="1"/>
              <a:t>title</a:t>
            </a:r>
            <a:r>
              <a:rPr lang="fr-FR"/>
              <a:t> (2 </a:t>
            </a:r>
            <a:r>
              <a:rPr lang="fr-FR" err="1"/>
              <a:t>lines</a:t>
            </a:r>
            <a:r>
              <a:rPr lang="fr-FR"/>
              <a:t> max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74675" y="857944"/>
            <a:ext cx="11029950" cy="531460"/>
          </a:xfrm>
          <a:noFill/>
        </p:spPr>
        <p:txBody>
          <a:bodyPr wrap="square" lIns="0" tIns="252000" rIns="0" bIns="0" anchor="t" anchorCtr="0">
            <a:spAutoFit/>
          </a:bodyPr>
          <a:lstStyle>
            <a:lvl1pPr>
              <a:defRPr sz="1700" cap="all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/>
              <a:t>SUBTITLE (ALIGN BOX TOP ON ACTION TITLE’S BOTTOM LINE, 1 line max)</a:t>
            </a:r>
          </a:p>
        </p:txBody>
      </p:sp>
    </p:spTree>
    <p:extLst>
      <p:ext uri="{BB962C8B-B14F-4D97-AF65-F5344CB8AC3E}">
        <p14:creationId xmlns:p14="http://schemas.microsoft.com/office/powerpoint/2010/main" val="220593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42358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12606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1999" cy="6856081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5397087" y="504824"/>
            <a:ext cx="1397826" cy="3210979"/>
            <a:chOff x="3135313" y="1050925"/>
            <a:chExt cx="1490663" cy="3424237"/>
          </a:xfrm>
          <a:solidFill>
            <a:schemeClr val="bg1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286125" y="1943100"/>
              <a:ext cx="1204913" cy="893762"/>
            </a:xfrm>
            <a:custGeom>
              <a:avLst/>
              <a:gdLst>
                <a:gd name="T0" fmla="*/ 379 w 759"/>
                <a:gd name="T1" fmla="*/ 563 h 563"/>
                <a:gd name="T2" fmla="*/ 0 w 759"/>
                <a:gd name="T3" fmla="*/ 0 h 563"/>
                <a:gd name="T4" fmla="*/ 759 w 759"/>
                <a:gd name="T5" fmla="*/ 0 h 563"/>
                <a:gd name="T6" fmla="*/ 379 w 759"/>
                <a:gd name="T7" fmla="*/ 563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9" h="563">
                  <a:moveTo>
                    <a:pt x="379" y="563"/>
                  </a:moveTo>
                  <a:lnTo>
                    <a:pt x="0" y="0"/>
                  </a:lnTo>
                  <a:lnTo>
                    <a:pt x="759" y="0"/>
                  </a:lnTo>
                  <a:lnTo>
                    <a:pt x="379" y="5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246438" y="1050925"/>
              <a:ext cx="1284288" cy="738187"/>
            </a:xfrm>
            <a:custGeom>
              <a:avLst/>
              <a:gdLst>
                <a:gd name="T0" fmla="*/ 1093 w 1093"/>
                <a:gd name="T1" fmla="*/ 630 h 630"/>
                <a:gd name="T2" fmla="*/ 546 w 1093"/>
                <a:gd name="T3" fmla="*/ 0 h 630"/>
                <a:gd name="T4" fmla="*/ 0 w 1093"/>
                <a:gd name="T5" fmla="*/ 630 h 630"/>
                <a:gd name="T6" fmla="*/ 1093 w 1093"/>
                <a:gd name="T7" fmla="*/ 630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3" h="630">
                  <a:moveTo>
                    <a:pt x="1093" y="630"/>
                  </a:moveTo>
                  <a:cubicBezTo>
                    <a:pt x="1093" y="282"/>
                    <a:pt x="848" y="0"/>
                    <a:pt x="546" y="0"/>
                  </a:cubicBezTo>
                  <a:cubicBezTo>
                    <a:pt x="244" y="0"/>
                    <a:pt x="0" y="282"/>
                    <a:pt x="0" y="630"/>
                  </a:cubicBezTo>
                  <a:lnTo>
                    <a:pt x="1093" y="6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 noEditPoints="1"/>
            </p:cNvSpPr>
            <p:nvPr/>
          </p:nvSpPr>
          <p:spPr bwMode="auto">
            <a:xfrm>
              <a:off x="3135313" y="2994025"/>
              <a:ext cx="1490663" cy="1481137"/>
            </a:xfrm>
            <a:custGeom>
              <a:avLst/>
              <a:gdLst>
                <a:gd name="T0" fmla="*/ 363 w 1269"/>
                <a:gd name="T1" fmla="*/ 747 h 1264"/>
                <a:gd name="T2" fmla="*/ 806 w 1269"/>
                <a:gd name="T3" fmla="*/ 747 h 1264"/>
                <a:gd name="T4" fmla="*/ 587 w 1269"/>
                <a:gd name="T5" fmla="*/ 189 h 1264"/>
                <a:gd name="T6" fmla="*/ 363 w 1269"/>
                <a:gd name="T7" fmla="*/ 747 h 1264"/>
                <a:gd name="T8" fmla="*/ 124 w 1269"/>
                <a:gd name="T9" fmla="*/ 1180 h 1264"/>
                <a:gd name="T10" fmla="*/ 156 w 1269"/>
                <a:gd name="T11" fmla="*/ 1141 h 1264"/>
                <a:gd name="T12" fmla="*/ 184 w 1269"/>
                <a:gd name="T13" fmla="*/ 1091 h 1264"/>
                <a:gd name="T14" fmla="*/ 215 w 1269"/>
                <a:gd name="T15" fmla="*/ 1012 h 1264"/>
                <a:gd name="T16" fmla="*/ 238 w 1269"/>
                <a:gd name="T17" fmla="*/ 952 h 1264"/>
                <a:gd name="T18" fmla="*/ 624 w 1269"/>
                <a:gd name="T19" fmla="*/ 0 h 1264"/>
                <a:gd name="T20" fmla="*/ 663 w 1269"/>
                <a:gd name="T21" fmla="*/ 0 h 1264"/>
                <a:gd name="T22" fmla="*/ 1061 w 1269"/>
                <a:gd name="T23" fmla="*/ 1012 h 1264"/>
                <a:gd name="T24" fmla="*/ 1090 w 1269"/>
                <a:gd name="T25" fmla="*/ 1091 h 1264"/>
                <a:gd name="T26" fmla="*/ 1148 w 1269"/>
                <a:gd name="T27" fmla="*/ 1180 h 1264"/>
                <a:gd name="T28" fmla="*/ 1269 w 1269"/>
                <a:gd name="T29" fmla="*/ 1238 h 1264"/>
                <a:gd name="T30" fmla="*/ 1269 w 1269"/>
                <a:gd name="T31" fmla="*/ 1264 h 1264"/>
                <a:gd name="T32" fmla="*/ 784 w 1269"/>
                <a:gd name="T33" fmla="*/ 1264 h 1264"/>
                <a:gd name="T34" fmla="*/ 784 w 1269"/>
                <a:gd name="T35" fmla="*/ 1238 h 1264"/>
                <a:gd name="T36" fmla="*/ 945 w 1269"/>
                <a:gd name="T37" fmla="*/ 1138 h 1264"/>
                <a:gd name="T38" fmla="*/ 910 w 1269"/>
                <a:gd name="T39" fmla="*/ 1012 h 1264"/>
                <a:gd name="T40" fmla="*/ 819 w 1269"/>
                <a:gd name="T41" fmla="*/ 778 h 1264"/>
                <a:gd name="T42" fmla="*/ 350 w 1269"/>
                <a:gd name="T43" fmla="*/ 778 h 1264"/>
                <a:gd name="T44" fmla="*/ 235 w 1269"/>
                <a:gd name="T45" fmla="*/ 1126 h 1264"/>
                <a:gd name="T46" fmla="*/ 405 w 1269"/>
                <a:gd name="T47" fmla="*/ 1238 h 1264"/>
                <a:gd name="T48" fmla="*/ 405 w 1269"/>
                <a:gd name="T49" fmla="*/ 1264 h 1264"/>
                <a:gd name="T50" fmla="*/ 0 w 1269"/>
                <a:gd name="T51" fmla="*/ 1264 h 1264"/>
                <a:gd name="T52" fmla="*/ 0 w 1269"/>
                <a:gd name="T53" fmla="*/ 1238 h 1264"/>
                <a:gd name="T54" fmla="*/ 124 w 1269"/>
                <a:gd name="T55" fmla="*/ 1180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9" h="1264">
                  <a:moveTo>
                    <a:pt x="363" y="747"/>
                  </a:moveTo>
                  <a:cubicBezTo>
                    <a:pt x="806" y="747"/>
                    <a:pt x="806" y="747"/>
                    <a:pt x="806" y="747"/>
                  </a:cubicBezTo>
                  <a:cubicBezTo>
                    <a:pt x="587" y="189"/>
                    <a:pt x="587" y="189"/>
                    <a:pt x="587" y="189"/>
                  </a:cubicBezTo>
                  <a:lnTo>
                    <a:pt x="363" y="747"/>
                  </a:lnTo>
                  <a:close/>
                  <a:moveTo>
                    <a:pt x="124" y="1180"/>
                  </a:moveTo>
                  <a:cubicBezTo>
                    <a:pt x="135" y="1169"/>
                    <a:pt x="147" y="1155"/>
                    <a:pt x="156" y="1141"/>
                  </a:cubicBezTo>
                  <a:cubicBezTo>
                    <a:pt x="168" y="1122"/>
                    <a:pt x="177" y="1105"/>
                    <a:pt x="184" y="1091"/>
                  </a:cubicBezTo>
                  <a:cubicBezTo>
                    <a:pt x="189" y="1078"/>
                    <a:pt x="200" y="1052"/>
                    <a:pt x="215" y="1012"/>
                  </a:cubicBezTo>
                  <a:cubicBezTo>
                    <a:pt x="238" y="952"/>
                    <a:pt x="238" y="952"/>
                    <a:pt x="238" y="952"/>
                  </a:cubicBezTo>
                  <a:cubicBezTo>
                    <a:pt x="624" y="0"/>
                    <a:pt x="624" y="0"/>
                    <a:pt x="624" y="0"/>
                  </a:cubicBezTo>
                  <a:cubicBezTo>
                    <a:pt x="663" y="0"/>
                    <a:pt x="663" y="0"/>
                    <a:pt x="663" y="0"/>
                  </a:cubicBezTo>
                  <a:cubicBezTo>
                    <a:pt x="1061" y="1012"/>
                    <a:pt x="1061" y="1012"/>
                    <a:pt x="1061" y="1012"/>
                  </a:cubicBezTo>
                  <a:cubicBezTo>
                    <a:pt x="1090" y="1091"/>
                    <a:pt x="1090" y="1091"/>
                    <a:pt x="1090" y="1091"/>
                  </a:cubicBezTo>
                  <a:cubicBezTo>
                    <a:pt x="1103" y="1119"/>
                    <a:pt x="1127" y="1157"/>
                    <a:pt x="1148" y="1180"/>
                  </a:cubicBezTo>
                  <a:cubicBezTo>
                    <a:pt x="1183" y="1220"/>
                    <a:pt x="1215" y="1234"/>
                    <a:pt x="1269" y="1238"/>
                  </a:cubicBezTo>
                  <a:cubicBezTo>
                    <a:pt x="1269" y="1264"/>
                    <a:pt x="1269" y="1264"/>
                    <a:pt x="1269" y="1264"/>
                  </a:cubicBezTo>
                  <a:cubicBezTo>
                    <a:pt x="784" y="1264"/>
                    <a:pt x="784" y="1264"/>
                    <a:pt x="784" y="1264"/>
                  </a:cubicBezTo>
                  <a:cubicBezTo>
                    <a:pt x="784" y="1238"/>
                    <a:pt x="784" y="1238"/>
                    <a:pt x="784" y="1238"/>
                  </a:cubicBezTo>
                  <a:cubicBezTo>
                    <a:pt x="898" y="1233"/>
                    <a:pt x="945" y="1203"/>
                    <a:pt x="945" y="1138"/>
                  </a:cubicBezTo>
                  <a:cubicBezTo>
                    <a:pt x="945" y="1108"/>
                    <a:pt x="938" y="1078"/>
                    <a:pt x="910" y="1012"/>
                  </a:cubicBezTo>
                  <a:cubicBezTo>
                    <a:pt x="889" y="961"/>
                    <a:pt x="857" y="884"/>
                    <a:pt x="819" y="778"/>
                  </a:cubicBezTo>
                  <a:cubicBezTo>
                    <a:pt x="350" y="778"/>
                    <a:pt x="350" y="778"/>
                    <a:pt x="350" y="778"/>
                  </a:cubicBezTo>
                  <a:cubicBezTo>
                    <a:pt x="258" y="1010"/>
                    <a:pt x="235" y="1078"/>
                    <a:pt x="235" y="1126"/>
                  </a:cubicBezTo>
                  <a:cubicBezTo>
                    <a:pt x="235" y="1201"/>
                    <a:pt x="282" y="1233"/>
                    <a:pt x="405" y="1238"/>
                  </a:cubicBezTo>
                  <a:cubicBezTo>
                    <a:pt x="405" y="1264"/>
                    <a:pt x="405" y="1264"/>
                    <a:pt x="405" y="1264"/>
                  </a:cubicBezTo>
                  <a:cubicBezTo>
                    <a:pt x="0" y="1264"/>
                    <a:pt x="0" y="1264"/>
                    <a:pt x="0" y="1264"/>
                  </a:cubicBezTo>
                  <a:cubicBezTo>
                    <a:pt x="0" y="1238"/>
                    <a:pt x="0" y="1238"/>
                    <a:pt x="0" y="1238"/>
                  </a:cubicBezTo>
                  <a:cubicBezTo>
                    <a:pt x="56" y="1234"/>
                    <a:pt x="91" y="1220"/>
                    <a:pt x="124" y="118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8260716" y="3078790"/>
            <a:ext cx="1654969" cy="349251"/>
            <a:chOff x="6891337" y="2821806"/>
            <a:chExt cx="1654969" cy="349251"/>
          </a:xfrm>
        </p:grpSpPr>
        <p:sp>
          <p:nvSpPr>
            <p:cNvPr id="18" name="Rectangle 5">
              <a:hlinkClick r:id="rId7"/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>
            <a:xfrm>
              <a:off x="7377396" y="2940904"/>
              <a:ext cx="1168910" cy="16344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>
              <a:lvl1pPr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Garamond" pitchFamily="18" charset="0"/>
                <a:defRPr sz="1200" b="1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588"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Garamond" pitchFamily="18" charset="0"/>
                <a:defRPr sz="1200">
                  <a:solidFill>
                    <a:srgbClr val="000000"/>
                  </a:solidFill>
                  <a:latin typeface="+mn-lt"/>
                </a:defRPr>
              </a:lvl2pPr>
              <a:lvl3pPr marL="184128" indent="-180953"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Garamond" pitchFamily="18" charset="0"/>
                <a:buChar char="─"/>
                <a:defRPr sz="1200">
                  <a:solidFill>
                    <a:srgbClr val="000000"/>
                  </a:solidFill>
                  <a:latin typeface="+mn-lt"/>
                </a:defRPr>
              </a:lvl3pPr>
              <a:lvl4pPr marL="361907" indent="-176192"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Garamond" pitchFamily="18" charset="0"/>
                <a:buChar char="─"/>
                <a:defRPr sz="1200">
                  <a:solidFill>
                    <a:srgbClr val="000000"/>
                  </a:solidFill>
                  <a:latin typeface="+mn-lt"/>
                </a:defRPr>
              </a:lvl4pPr>
              <a:lvl5pPr marL="547623" indent="-184128"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Garamond" pitchFamily="18" charset="0"/>
                <a:buChar char="─"/>
                <a:defRPr sz="1200">
                  <a:solidFill>
                    <a:srgbClr val="000000"/>
                  </a:solidFill>
                  <a:latin typeface="+mn-lt"/>
                </a:defRPr>
              </a:lvl5pPr>
              <a:lvl6pPr marL="1004768" indent="-184128"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Garamond" pitchFamily="18" charset="0"/>
                <a:buChar char="─"/>
                <a:defRPr sz="1200">
                  <a:solidFill>
                    <a:srgbClr val="000000"/>
                  </a:solidFill>
                  <a:latin typeface="+mn-lt"/>
                </a:defRPr>
              </a:lvl6pPr>
              <a:lvl7pPr marL="1461913" indent="-184128"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Garamond" pitchFamily="18" charset="0"/>
                <a:buChar char="─"/>
                <a:defRPr sz="1200">
                  <a:solidFill>
                    <a:srgbClr val="000000"/>
                  </a:solidFill>
                  <a:latin typeface="+mn-lt"/>
                </a:defRPr>
              </a:lvl7pPr>
              <a:lvl8pPr marL="1919058" indent="-184128"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Garamond" pitchFamily="18" charset="0"/>
                <a:buChar char="─"/>
                <a:defRPr sz="1200">
                  <a:solidFill>
                    <a:srgbClr val="000000"/>
                  </a:solidFill>
                  <a:latin typeface="+mn-lt"/>
                </a:defRPr>
              </a:lvl8pPr>
              <a:lvl9pPr marL="2376204" indent="-184128" algn="l" defTabSz="95556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Garamond" pitchFamily="18" charset="0"/>
                <a:buChar char="─"/>
                <a:defRPr sz="12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lvl="1" algn="ctr">
                <a:buClr>
                  <a:prstClr val="black"/>
                </a:buClr>
              </a:pPr>
              <a:r>
                <a:rPr lang="fr-FR" sz="1062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www.accuracy.com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6891337" y="2821806"/>
              <a:ext cx="349250" cy="349251"/>
              <a:chOff x="-1119188" y="3473450"/>
              <a:chExt cx="349250" cy="349251"/>
            </a:xfrm>
            <a:solidFill>
              <a:schemeClr val="bg1"/>
            </a:solidFill>
          </p:grpSpPr>
          <p:sp>
            <p:nvSpPr>
              <p:cNvPr id="20" name="Freeform 12"/>
              <p:cNvSpPr>
                <a:spLocks/>
              </p:cNvSpPr>
              <p:nvPr/>
            </p:nvSpPr>
            <p:spPr bwMode="auto">
              <a:xfrm>
                <a:off x="-985838" y="3473450"/>
                <a:ext cx="215900" cy="214313"/>
              </a:xfrm>
              <a:custGeom>
                <a:avLst/>
                <a:gdLst>
                  <a:gd name="T0" fmla="*/ 60 w 64"/>
                  <a:gd name="T1" fmla="*/ 0 h 64"/>
                  <a:gd name="T2" fmla="*/ 59 w 64"/>
                  <a:gd name="T3" fmla="*/ 0 h 64"/>
                  <a:gd name="T4" fmla="*/ 28 w 64"/>
                  <a:gd name="T5" fmla="*/ 0 h 64"/>
                  <a:gd name="T6" fmla="*/ 24 w 64"/>
                  <a:gd name="T7" fmla="*/ 4 h 64"/>
                  <a:gd name="T8" fmla="*/ 28 w 64"/>
                  <a:gd name="T9" fmla="*/ 8 h 64"/>
                  <a:gd name="T10" fmla="*/ 28 w 64"/>
                  <a:gd name="T11" fmla="*/ 8 h 64"/>
                  <a:gd name="T12" fmla="*/ 50 w 64"/>
                  <a:gd name="T13" fmla="*/ 8 h 64"/>
                  <a:gd name="T14" fmla="*/ 1 w 64"/>
                  <a:gd name="T15" fmla="*/ 57 h 64"/>
                  <a:gd name="T16" fmla="*/ 1 w 64"/>
                  <a:gd name="T17" fmla="*/ 63 h 64"/>
                  <a:gd name="T18" fmla="*/ 7 w 64"/>
                  <a:gd name="T19" fmla="*/ 63 h 64"/>
                  <a:gd name="T20" fmla="*/ 7 w 64"/>
                  <a:gd name="T21" fmla="*/ 63 h 64"/>
                  <a:gd name="T22" fmla="*/ 56 w 64"/>
                  <a:gd name="T23" fmla="*/ 14 h 64"/>
                  <a:gd name="T24" fmla="*/ 56 w 64"/>
                  <a:gd name="T25" fmla="*/ 36 h 64"/>
                  <a:gd name="T26" fmla="*/ 60 w 64"/>
                  <a:gd name="T27" fmla="*/ 40 h 64"/>
                  <a:gd name="T28" fmla="*/ 64 w 64"/>
                  <a:gd name="T29" fmla="*/ 36 h 64"/>
                  <a:gd name="T30" fmla="*/ 64 w 64"/>
                  <a:gd name="T31" fmla="*/ 36 h 64"/>
                  <a:gd name="T32" fmla="*/ 64 w 64"/>
                  <a:gd name="T33" fmla="*/ 5 h 64"/>
                  <a:gd name="T34" fmla="*/ 61 w 64"/>
                  <a:gd name="T35" fmla="*/ 0 h 64"/>
                  <a:gd name="T36" fmla="*/ 60 w 64"/>
                  <a:gd name="T37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4" h="64">
                    <a:moveTo>
                      <a:pt x="60" y="0"/>
                    </a:moveTo>
                    <a:cubicBezTo>
                      <a:pt x="60" y="0"/>
                      <a:pt x="60" y="0"/>
                      <a:pt x="59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6" y="0"/>
                      <a:pt x="24" y="2"/>
                      <a:pt x="24" y="4"/>
                    </a:cubicBezTo>
                    <a:cubicBezTo>
                      <a:pt x="24" y="6"/>
                      <a:pt x="26" y="8"/>
                      <a:pt x="28" y="8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0" y="59"/>
                      <a:pt x="0" y="61"/>
                      <a:pt x="1" y="63"/>
                    </a:cubicBezTo>
                    <a:cubicBezTo>
                      <a:pt x="3" y="64"/>
                      <a:pt x="5" y="64"/>
                      <a:pt x="7" y="63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8"/>
                      <a:pt x="58" y="40"/>
                      <a:pt x="60" y="40"/>
                    </a:cubicBezTo>
                    <a:cubicBezTo>
                      <a:pt x="62" y="40"/>
                      <a:pt x="64" y="38"/>
                      <a:pt x="64" y="36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4" y="2"/>
                      <a:pt x="63" y="0"/>
                      <a:pt x="61" y="0"/>
                    </a:cubicBezTo>
                    <a:cubicBezTo>
                      <a:pt x="60" y="0"/>
                      <a:pt x="60" y="0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-1119188" y="3525838"/>
                <a:ext cx="295275" cy="296863"/>
              </a:xfrm>
              <a:custGeom>
                <a:avLst/>
                <a:gdLst>
                  <a:gd name="T0" fmla="*/ 44 w 88"/>
                  <a:gd name="T1" fmla="*/ 0 h 88"/>
                  <a:gd name="T2" fmla="*/ 20 w 88"/>
                  <a:gd name="T3" fmla="*/ 1 h 88"/>
                  <a:gd name="T4" fmla="*/ 6 w 88"/>
                  <a:gd name="T5" fmla="*/ 6 h 88"/>
                  <a:gd name="T6" fmla="*/ 1 w 88"/>
                  <a:gd name="T7" fmla="*/ 20 h 88"/>
                  <a:gd name="T8" fmla="*/ 0 w 88"/>
                  <a:gd name="T9" fmla="*/ 44 h 88"/>
                  <a:gd name="T10" fmla="*/ 1 w 88"/>
                  <a:gd name="T11" fmla="*/ 68 h 88"/>
                  <a:gd name="T12" fmla="*/ 6 w 88"/>
                  <a:gd name="T13" fmla="*/ 82 h 88"/>
                  <a:gd name="T14" fmla="*/ 21 w 88"/>
                  <a:gd name="T15" fmla="*/ 87 h 88"/>
                  <a:gd name="T16" fmla="*/ 44 w 88"/>
                  <a:gd name="T17" fmla="*/ 88 h 88"/>
                  <a:gd name="T18" fmla="*/ 67 w 88"/>
                  <a:gd name="T19" fmla="*/ 87 h 88"/>
                  <a:gd name="T20" fmla="*/ 82 w 88"/>
                  <a:gd name="T21" fmla="*/ 82 h 88"/>
                  <a:gd name="T22" fmla="*/ 87 w 88"/>
                  <a:gd name="T23" fmla="*/ 68 h 88"/>
                  <a:gd name="T24" fmla="*/ 88 w 88"/>
                  <a:gd name="T25" fmla="*/ 44 h 88"/>
                  <a:gd name="T26" fmla="*/ 84 w 88"/>
                  <a:gd name="T27" fmla="*/ 40 h 88"/>
                  <a:gd name="T28" fmla="*/ 80 w 88"/>
                  <a:gd name="T29" fmla="*/ 44 h 88"/>
                  <a:gd name="T30" fmla="*/ 80 w 88"/>
                  <a:gd name="T31" fmla="*/ 44 h 88"/>
                  <a:gd name="T32" fmla="*/ 79 w 88"/>
                  <a:gd name="T33" fmla="*/ 67 h 88"/>
                  <a:gd name="T34" fmla="*/ 76 w 88"/>
                  <a:gd name="T35" fmla="*/ 76 h 88"/>
                  <a:gd name="T36" fmla="*/ 67 w 88"/>
                  <a:gd name="T37" fmla="*/ 79 h 88"/>
                  <a:gd name="T38" fmla="*/ 44 w 88"/>
                  <a:gd name="T39" fmla="*/ 80 h 88"/>
                  <a:gd name="T40" fmla="*/ 21 w 88"/>
                  <a:gd name="T41" fmla="*/ 79 h 88"/>
                  <a:gd name="T42" fmla="*/ 12 w 88"/>
                  <a:gd name="T43" fmla="*/ 76 h 88"/>
                  <a:gd name="T44" fmla="*/ 9 w 88"/>
                  <a:gd name="T45" fmla="*/ 67 h 88"/>
                  <a:gd name="T46" fmla="*/ 8 w 88"/>
                  <a:gd name="T47" fmla="*/ 44 h 88"/>
                  <a:gd name="T48" fmla="*/ 9 w 88"/>
                  <a:gd name="T49" fmla="*/ 21 h 88"/>
                  <a:gd name="T50" fmla="*/ 12 w 88"/>
                  <a:gd name="T51" fmla="*/ 12 h 88"/>
                  <a:gd name="T52" fmla="*/ 21 w 88"/>
                  <a:gd name="T53" fmla="*/ 9 h 88"/>
                  <a:gd name="T54" fmla="*/ 44 w 88"/>
                  <a:gd name="T55" fmla="*/ 8 h 88"/>
                  <a:gd name="T56" fmla="*/ 48 w 88"/>
                  <a:gd name="T57" fmla="*/ 4 h 88"/>
                  <a:gd name="T58" fmla="*/ 44 w 88"/>
                  <a:gd name="T59" fmla="*/ 0 h 88"/>
                  <a:gd name="T60" fmla="*/ 44 w 88"/>
                  <a:gd name="T61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cubicBezTo>
                      <a:pt x="34" y="0"/>
                      <a:pt x="26" y="0"/>
                      <a:pt x="20" y="1"/>
                    </a:cubicBezTo>
                    <a:cubicBezTo>
                      <a:pt x="14" y="1"/>
                      <a:pt x="10" y="3"/>
                      <a:pt x="6" y="6"/>
                    </a:cubicBezTo>
                    <a:cubicBezTo>
                      <a:pt x="3" y="10"/>
                      <a:pt x="1" y="14"/>
                      <a:pt x="1" y="20"/>
                    </a:cubicBezTo>
                    <a:cubicBezTo>
                      <a:pt x="0" y="26"/>
                      <a:pt x="0" y="34"/>
                      <a:pt x="0" y="44"/>
                    </a:cubicBezTo>
                    <a:cubicBezTo>
                      <a:pt x="0" y="54"/>
                      <a:pt x="0" y="62"/>
                      <a:pt x="1" y="68"/>
                    </a:cubicBezTo>
                    <a:cubicBezTo>
                      <a:pt x="1" y="74"/>
                      <a:pt x="3" y="78"/>
                      <a:pt x="6" y="82"/>
                    </a:cubicBezTo>
                    <a:cubicBezTo>
                      <a:pt x="10" y="85"/>
                      <a:pt x="15" y="87"/>
                      <a:pt x="21" y="87"/>
                    </a:cubicBezTo>
                    <a:cubicBezTo>
                      <a:pt x="27" y="88"/>
                      <a:pt x="34" y="88"/>
                      <a:pt x="44" y="88"/>
                    </a:cubicBezTo>
                    <a:cubicBezTo>
                      <a:pt x="54" y="88"/>
                      <a:pt x="61" y="88"/>
                      <a:pt x="67" y="87"/>
                    </a:cubicBezTo>
                    <a:cubicBezTo>
                      <a:pt x="73" y="87"/>
                      <a:pt x="78" y="85"/>
                      <a:pt x="82" y="82"/>
                    </a:cubicBezTo>
                    <a:cubicBezTo>
                      <a:pt x="85" y="78"/>
                      <a:pt x="87" y="74"/>
                      <a:pt x="87" y="68"/>
                    </a:cubicBezTo>
                    <a:cubicBezTo>
                      <a:pt x="88" y="61"/>
                      <a:pt x="88" y="54"/>
                      <a:pt x="88" y="44"/>
                    </a:cubicBezTo>
                    <a:cubicBezTo>
                      <a:pt x="88" y="42"/>
                      <a:pt x="86" y="40"/>
                      <a:pt x="84" y="40"/>
                    </a:cubicBezTo>
                    <a:cubicBezTo>
                      <a:pt x="82" y="40"/>
                      <a:pt x="80" y="42"/>
                      <a:pt x="80" y="44"/>
                    </a:cubicBezTo>
                    <a:cubicBezTo>
                      <a:pt x="80" y="44"/>
                      <a:pt x="80" y="44"/>
                      <a:pt x="80" y="44"/>
                    </a:cubicBezTo>
                    <a:cubicBezTo>
                      <a:pt x="80" y="54"/>
                      <a:pt x="80" y="61"/>
                      <a:pt x="79" y="67"/>
                    </a:cubicBezTo>
                    <a:cubicBezTo>
                      <a:pt x="79" y="72"/>
                      <a:pt x="78" y="75"/>
                      <a:pt x="76" y="76"/>
                    </a:cubicBezTo>
                    <a:cubicBezTo>
                      <a:pt x="75" y="78"/>
                      <a:pt x="72" y="79"/>
                      <a:pt x="67" y="79"/>
                    </a:cubicBezTo>
                    <a:cubicBezTo>
                      <a:pt x="61" y="80"/>
                      <a:pt x="54" y="80"/>
                      <a:pt x="44" y="80"/>
                    </a:cubicBezTo>
                    <a:cubicBezTo>
                      <a:pt x="34" y="80"/>
                      <a:pt x="27" y="80"/>
                      <a:pt x="21" y="79"/>
                    </a:cubicBezTo>
                    <a:cubicBezTo>
                      <a:pt x="16" y="79"/>
                      <a:pt x="13" y="78"/>
                      <a:pt x="12" y="76"/>
                    </a:cubicBezTo>
                    <a:cubicBezTo>
                      <a:pt x="10" y="75"/>
                      <a:pt x="9" y="72"/>
                      <a:pt x="9" y="67"/>
                    </a:cubicBezTo>
                    <a:cubicBezTo>
                      <a:pt x="8" y="61"/>
                      <a:pt x="8" y="54"/>
                      <a:pt x="8" y="44"/>
                    </a:cubicBezTo>
                    <a:cubicBezTo>
                      <a:pt x="8" y="34"/>
                      <a:pt x="8" y="27"/>
                      <a:pt x="9" y="21"/>
                    </a:cubicBezTo>
                    <a:cubicBezTo>
                      <a:pt x="9" y="16"/>
                      <a:pt x="10" y="13"/>
                      <a:pt x="12" y="12"/>
                    </a:cubicBezTo>
                    <a:cubicBezTo>
                      <a:pt x="13" y="10"/>
                      <a:pt x="16" y="9"/>
                      <a:pt x="21" y="9"/>
                    </a:cubicBezTo>
                    <a:cubicBezTo>
                      <a:pt x="27" y="8"/>
                      <a:pt x="34" y="8"/>
                      <a:pt x="44" y="8"/>
                    </a:cubicBezTo>
                    <a:cubicBezTo>
                      <a:pt x="46" y="8"/>
                      <a:pt x="48" y="6"/>
                      <a:pt x="48" y="4"/>
                    </a:cubicBezTo>
                    <a:cubicBezTo>
                      <a:pt x="48" y="2"/>
                      <a:pt x="46" y="0"/>
                      <a:pt x="44" y="0"/>
                    </a:cubicBezTo>
                    <a:cubicBezTo>
                      <a:pt x="44" y="0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048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6516B-64D8-AFFD-2C05-B4561683CE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F5E54F-9741-58CE-5333-1141DB6EB5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FBFDF4-9864-4431-A4DC-8569748A8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8BC63-246F-4601-BBD8-BAAF047B8790}" type="datetimeFigureOut">
              <a:rPr lang="fr-FR" smtClean="0"/>
              <a:t>04/10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E35EF4-31B6-A053-60E5-1E3CE2540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C677F6-CCDD-70AB-BD22-385B8516A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50842-E4AD-4917-ACD2-7765366F90B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31832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541583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676" y="504825"/>
            <a:ext cx="11026041" cy="5803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11777543" y="6591251"/>
            <a:ext cx="262057" cy="1165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2482" rtl="0" eaLnBrk="1" latinLnBrk="0" hangingPunct="1">
              <a:spcBef>
                <a:spcPts val="0"/>
              </a:spcBef>
              <a:buFont typeface="Arial" pitchFamily="34" charset="0"/>
              <a:buNone/>
              <a:defRPr sz="1100" kern="1200">
                <a:solidFill>
                  <a:schemeClr val="tx1"/>
                </a:solidFill>
                <a:latin typeface="Garamond"/>
                <a:ea typeface="+mn-ea"/>
                <a:cs typeface="+mn-cs"/>
              </a:defRPr>
            </a:lvl1pPr>
            <a:lvl2pPr marL="182563" indent="-182563" algn="l" defTabSz="1022482" rtl="0" eaLnBrk="1" latinLnBrk="0" hangingPunct="1">
              <a:spcBef>
                <a:spcPts val="0"/>
              </a:spcBef>
              <a:buFont typeface="Arial" pitchFamily="34" charset="0"/>
              <a:buChar char="-"/>
              <a:defRPr sz="1100" kern="1200">
                <a:solidFill>
                  <a:schemeClr val="tx1"/>
                </a:solidFill>
                <a:latin typeface="Garamond"/>
                <a:ea typeface="+mn-ea"/>
                <a:cs typeface="+mn-cs"/>
              </a:defRPr>
            </a:lvl2pPr>
            <a:lvl3pPr marL="365125" indent="-171450" algn="l" defTabSz="1022482" rtl="0" eaLnBrk="1" latinLnBrk="0" hangingPunct="1">
              <a:spcBef>
                <a:spcPts val="0"/>
              </a:spcBef>
              <a:buFont typeface="Garamond" pitchFamily="18" charset="0"/>
              <a:buChar char="-"/>
              <a:defRPr sz="1100" kern="1200">
                <a:solidFill>
                  <a:schemeClr val="tx1"/>
                </a:solidFill>
                <a:latin typeface="Garamond"/>
                <a:ea typeface="+mn-ea"/>
                <a:cs typeface="+mn-cs"/>
              </a:defRPr>
            </a:lvl3pPr>
            <a:lvl4pPr marL="534988" indent="-153988" algn="l" defTabSz="1022482" rtl="0" eaLnBrk="1" latinLnBrk="0" hangingPunct="1">
              <a:spcBef>
                <a:spcPts val="0"/>
              </a:spcBef>
              <a:buFont typeface="Arial" pitchFamily="34" charset="0"/>
              <a:buChar char="-"/>
              <a:defRPr sz="1100" kern="1200">
                <a:solidFill>
                  <a:schemeClr val="tx1"/>
                </a:solidFill>
                <a:latin typeface="Garamond"/>
                <a:ea typeface="+mn-ea"/>
                <a:cs typeface="+mn-cs"/>
              </a:defRPr>
            </a:lvl4pPr>
            <a:lvl5pPr marL="717550" indent="-177800" algn="l" defTabSz="1022482" rtl="0" eaLnBrk="1" latinLnBrk="0" hangingPunct="1">
              <a:spcBef>
                <a:spcPts val="0"/>
              </a:spcBef>
              <a:buFont typeface="Arial" pitchFamily="34" charset="0"/>
              <a:buChar char="-"/>
              <a:defRPr sz="1100" kern="1200">
                <a:solidFill>
                  <a:schemeClr val="tx1"/>
                </a:solidFill>
                <a:latin typeface="Garamond"/>
                <a:ea typeface="+mn-ea"/>
                <a:cs typeface="+mn-cs"/>
              </a:defRPr>
            </a:lvl5pPr>
            <a:lvl6pPr marL="2811826" indent="-255621" algn="l" defTabSz="102248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3067" indent="-255621" algn="l" defTabSz="102248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4308" indent="-255621" algn="l" defTabSz="102248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45549" indent="-255621" algn="l" defTabSz="102248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52A7160-5041-4A26-BDEA-F04B633F5B2C}" type="slidenum">
              <a:rPr lang="fr-FR" sz="900" smtClean="0">
                <a:solidFill>
                  <a:srgbClr val="CE17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fr-FR" sz="900">
              <a:solidFill>
                <a:srgbClr val="CE17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6265" y="6615060"/>
            <a:ext cx="51296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spcCol="0" rtlCol="0" anchor="t">
            <a:spAutoFit/>
          </a:bodyPr>
          <a:lstStyle/>
          <a:p>
            <a:pPr marL="0" marR="0" lvl="0" indent="0" algn="l" defTabSz="766862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700" kern="1200" baseline="0" noProof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1" name="AccFullLogoRed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65449" y="6475806"/>
            <a:ext cx="558442" cy="256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/>
          <p:nvPr/>
        </p:nvCxnSpPr>
        <p:spPr>
          <a:xfrm>
            <a:off x="11603892" y="6490002"/>
            <a:ext cx="0" cy="321549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576265" y="6516000"/>
            <a:ext cx="438750" cy="43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/>
            <a:endParaRPr lang="fr-FR" sz="1357"/>
          </a:p>
        </p:txBody>
      </p:sp>
    </p:spTree>
    <p:extLst>
      <p:ext uri="{BB962C8B-B14F-4D97-AF65-F5344CB8AC3E}">
        <p14:creationId xmlns:p14="http://schemas.microsoft.com/office/powerpoint/2010/main" val="2113548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678650" rtl="0" eaLnBrk="1" latinLnBrk="0" hangingPunct="1">
        <a:spcBef>
          <a:spcPct val="0"/>
        </a:spcBef>
        <a:buNone/>
        <a:defRPr sz="730" b="0" kern="1200">
          <a:solidFill>
            <a:srgbClr val="7F7F7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678650" rtl="0" eaLnBrk="1" latinLnBrk="0" hangingPunct="1">
        <a:spcBef>
          <a:spcPts val="398"/>
        </a:spcBef>
        <a:buFont typeface="Arial" pitchFamily="34" charset="0"/>
        <a:buNone/>
        <a:defRPr sz="97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98835" indent="-198835" algn="l" defTabSz="678650" rtl="0" eaLnBrk="1" latinLnBrk="0" hangingPunct="1">
        <a:spcBef>
          <a:spcPts val="200"/>
        </a:spcBef>
        <a:buFontTx/>
        <a:buBlip>
          <a:blip r:embed="rId15"/>
        </a:buBlip>
        <a:defRPr sz="97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35756" indent="-136922" algn="l" defTabSz="678650" rtl="0" eaLnBrk="1" latinLnBrk="0" hangingPunct="1">
        <a:spcBef>
          <a:spcPts val="99"/>
        </a:spcBef>
        <a:buFont typeface="Garamond" pitchFamily="18" charset="0"/>
        <a:buChar char="-"/>
        <a:defRPr sz="97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72679" indent="-136922" algn="l" defTabSz="678650" rtl="0" eaLnBrk="1" latinLnBrk="0" hangingPunct="1">
        <a:spcBef>
          <a:spcPts val="99"/>
        </a:spcBef>
        <a:buFont typeface="Arial" pitchFamily="34" charset="0"/>
        <a:buChar char="-"/>
        <a:defRPr sz="97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03647" indent="-130969" algn="l" defTabSz="678650" rtl="0" eaLnBrk="1" latinLnBrk="0" hangingPunct="1">
        <a:spcBef>
          <a:spcPts val="99"/>
        </a:spcBef>
        <a:buFont typeface="Arial" pitchFamily="34" charset="0"/>
        <a:buChar char="-"/>
        <a:defRPr sz="97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66287" indent="-169663" algn="l" defTabSz="678650" rtl="0" eaLnBrk="1" latinLnBrk="0" hangingPunct="1">
        <a:spcBef>
          <a:spcPct val="20000"/>
        </a:spcBef>
        <a:buFont typeface="Arial" pitchFamily="34" charset="0"/>
        <a:buChar char="•"/>
        <a:defRPr sz="1460" kern="1200">
          <a:solidFill>
            <a:schemeClr val="tx1"/>
          </a:solidFill>
          <a:latin typeface="+mn-lt"/>
          <a:ea typeface="+mn-ea"/>
          <a:cs typeface="+mn-cs"/>
        </a:defRPr>
      </a:lvl6pPr>
      <a:lvl7pPr marL="2205611" indent="-169663" algn="l" defTabSz="678650" rtl="0" eaLnBrk="1" latinLnBrk="0" hangingPunct="1">
        <a:spcBef>
          <a:spcPct val="20000"/>
        </a:spcBef>
        <a:buFont typeface="Arial" pitchFamily="34" charset="0"/>
        <a:buChar char="•"/>
        <a:defRPr sz="1460" kern="1200">
          <a:solidFill>
            <a:schemeClr val="tx1"/>
          </a:solidFill>
          <a:latin typeface="+mn-lt"/>
          <a:ea typeface="+mn-ea"/>
          <a:cs typeface="+mn-cs"/>
        </a:defRPr>
      </a:lvl7pPr>
      <a:lvl8pPr marL="2544936" indent="-169663" algn="l" defTabSz="678650" rtl="0" eaLnBrk="1" latinLnBrk="0" hangingPunct="1">
        <a:spcBef>
          <a:spcPct val="20000"/>
        </a:spcBef>
        <a:buFont typeface="Arial" pitchFamily="34" charset="0"/>
        <a:buChar char="•"/>
        <a:defRPr sz="1460" kern="1200">
          <a:solidFill>
            <a:schemeClr val="tx1"/>
          </a:solidFill>
          <a:latin typeface="+mn-lt"/>
          <a:ea typeface="+mn-ea"/>
          <a:cs typeface="+mn-cs"/>
        </a:defRPr>
      </a:lvl8pPr>
      <a:lvl9pPr marL="2884261" indent="-169663" algn="l" defTabSz="678650" rtl="0" eaLnBrk="1" latinLnBrk="0" hangingPunct="1">
        <a:spcBef>
          <a:spcPct val="20000"/>
        </a:spcBef>
        <a:buFont typeface="Arial" pitchFamily="34" charset="0"/>
        <a:buChar char="•"/>
        <a:defRPr sz="14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1pPr>
      <a:lvl2pPr marL="339325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2pPr>
      <a:lvl3pPr marL="678650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3pPr>
      <a:lvl4pPr marL="1017974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4pPr>
      <a:lvl5pPr marL="1357299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5pPr>
      <a:lvl6pPr marL="1696624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6pPr>
      <a:lvl7pPr marL="2035949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7pPr>
      <a:lvl8pPr marL="2375273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8pPr>
      <a:lvl9pPr marL="2714598" algn="l" defTabSz="678650" rtl="0" eaLnBrk="1" latinLnBrk="0" hangingPunct="1">
        <a:defRPr sz="13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4">
          <p15:clr>
            <a:srgbClr val="F26B43"/>
          </p15:clr>
        </p15:guide>
        <p15:guide id="2" pos="362">
          <p15:clr>
            <a:srgbClr val="F26B43"/>
          </p15:clr>
        </p15:guide>
        <p15:guide id="3" pos="7310">
          <p15:clr>
            <a:srgbClr val="F26B43"/>
          </p15:clr>
        </p15:guide>
        <p15:guide id="4" orient="horz" pos="4219">
          <p15:clr>
            <a:srgbClr val="F26B43"/>
          </p15:clr>
        </p15:guide>
        <p15:guide id="6" orient="horz" pos="318">
          <p15:clr>
            <a:srgbClr val="F26B43"/>
          </p15:clr>
        </p15:guide>
        <p15:guide id="7" orient="horz" pos="113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close up of a grid&#10;&#10;Description automatically generated">
            <a:extLst>
              <a:ext uri="{FF2B5EF4-FFF2-40B4-BE49-F238E27FC236}">
                <a16:creationId xmlns:a16="http://schemas.microsoft.com/office/drawing/2014/main" id="{4C4D918B-0C53-1721-ED4B-536A7A121CF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7" r="6057"/>
          <a:stretch>
            <a:fillRect/>
          </a:stretch>
        </p:blipFill>
        <p:spPr>
          <a:xfrm>
            <a:off x="0" y="-63500"/>
            <a:ext cx="3865563" cy="6985000"/>
          </a:xfr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3266E44-DDA0-A3BD-CFAC-5AA72078B2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22536" y="4866880"/>
            <a:ext cx="6660112" cy="200055"/>
          </a:xfrm>
        </p:spPr>
        <p:txBody>
          <a:bodyPr/>
          <a:lstStyle/>
          <a:p>
            <a:r>
              <a:rPr lang="fr-FR" err="1"/>
              <a:t>October</a:t>
            </a:r>
            <a:r>
              <a:rPr lang="fr-FR"/>
              <a:t> 4th 2023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58F6D98-4226-8990-B3B4-08645D7B4F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22536" y="4011447"/>
            <a:ext cx="6482089" cy="290849"/>
          </a:xfrm>
        </p:spPr>
        <p:txBody>
          <a:bodyPr/>
          <a:lstStyle/>
          <a:p>
            <a:r>
              <a:rPr lang="fr-FR" b="1" err="1"/>
              <a:t>Estimate</a:t>
            </a:r>
            <a:r>
              <a:rPr lang="fr-FR" b="1"/>
              <a:t> the sales of an </a:t>
            </a:r>
            <a:r>
              <a:rPr lang="fr-FR" b="1" err="1"/>
              <a:t>electrical</a:t>
            </a:r>
            <a:r>
              <a:rPr lang="fr-FR" b="1"/>
              <a:t> </a:t>
            </a:r>
            <a:r>
              <a:rPr lang="fr-FR" b="1" err="1"/>
              <a:t>charging</a:t>
            </a:r>
            <a:r>
              <a:rPr lang="fr-FR" b="1"/>
              <a:t> stations parc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413645E-2823-3758-66B7-E44090D0C0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2536" y="3178650"/>
            <a:ext cx="6482089" cy="401648"/>
          </a:xfrm>
        </p:spPr>
        <p:txBody>
          <a:bodyPr/>
          <a:lstStyle/>
          <a:p>
            <a:r>
              <a:rPr lang="fr-FR"/>
              <a:t>Be </a:t>
            </a:r>
            <a:r>
              <a:rPr lang="fr-FR" err="1"/>
              <a:t>prepared</a:t>
            </a:r>
            <a:r>
              <a:rPr lang="fr-FR"/>
              <a:t> – Case </a:t>
            </a:r>
            <a:r>
              <a:rPr lang="fr-FR" err="1"/>
              <a:t>Study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215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o are we ?</a:t>
            </a:r>
          </a:p>
        </p:txBody>
      </p:sp>
      <p:sp>
        <p:nvSpPr>
          <p:cNvPr id="24" name="Rectangle 23"/>
          <p:cNvSpPr/>
          <p:nvPr/>
        </p:nvSpPr>
        <p:spPr>
          <a:xfrm>
            <a:off x="0" y="5490598"/>
            <a:ext cx="12192000" cy="6717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/>
              <a:t>All three of us are part of the Advanced Analytics team at Accurac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B5D7D78-3470-D3FC-59EE-0D0F805B088E}"/>
              </a:ext>
            </a:extLst>
          </p:cNvPr>
          <p:cNvGrpSpPr/>
          <p:nvPr/>
        </p:nvGrpSpPr>
        <p:grpSpPr>
          <a:xfrm>
            <a:off x="2511379" y="2045144"/>
            <a:ext cx="7169242" cy="2767713"/>
            <a:chOff x="2634217" y="1870019"/>
            <a:chExt cx="7169242" cy="2767713"/>
          </a:xfrm>
        </p:grpSpPr>
        <p:sp>
          <p:nvSpPr>
            <p:cNvPr id="41" name="TextBox 40"/>
            <p:cNvSpPr txBox="1"/>
            <p:nvPr/>
          </p:nvSpPr>
          <p:spPr>
            <a:xfrm>
              <a:off x="2634217" y="3957158"/>
              <a:ext cx="1692197" cy="665173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Jérémy</a:t>
              </a:r>
              <a:b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</a:br>
              <a: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SITRUK</a:t>
              </a:r>
            </a:p>
            <a:p>
              <a:pPr algn="ctr">
                <a:spcBef>
                  <a:spcPts val="300"/>
                </a:spcBef>
              </a:pPr>
              <a:r>
                <a:rPr lang="en-GB" sz="1200">
                  <a:solidFill>
                    <a:schemeClr val="accent5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Senior Manager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299019" y="3949030"/>
              <a:ext cx="1692197" cy="665173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Tristan</a:t>
              </a:r>
              <a:b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</a:br>
              <a: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MURATORE</a:t>
              </a:r>
            </a:p>
            <a:p>
              <a:pPr algn="ctr">
                <a:spcBef>
                  <a:spcPts val="300"/>
                </a:spcBef>
              </a:pPr>
              <a:r>
                <a:rPr lang="en-GB" sz="1200">
                  <a:solidFill>
                    <a:schemeClr val="accent5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Manager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8111262" y="3972559"/>
              <a:ext cx="1692197" cy="665173"/>
            </a:xfrm>
            <a:prstGeom prst="rect">
              <a:avLst/>
            </a:prstGeom>
            <a:noFill/>
          </p:spPr>
          <p:txBody>
            <a:bodyPr wrap="square" lIns="0" tIns="7200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Lucas</a:t>
              </a:r>
              <a:b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</a:br>
              <a:r>
                <a:rPr lang="en-GB" sz="1200" b="1">
                  <a:solidFill>
                    <a:schemeClr val="accent1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FAYOLLE</a:t>
              </a:r>
            </a:p>
            <a:p>
              <a:pPr algn="ctr">
                <a:spcBef>
                  <a:spcPts val="300"/>
                </a:spcBef>
              </a:pPr>
              <a:r>
                <a:rPr lang="en-GB" sz="1200">
                  <a:solidFill>
                    <a:schemeClr val="accent5"/>
                  </a:solidFill>
                  <a:latin typeface="+mn-lt"/>
                  <a:ea typeface="Open Sans" pitchFamily="34" charset="0"/>
                  <a:cs typeface="Open Sans" pitchFamily="34" charset="0"/>
                </a:rPr>
                <a:t>Senior Associate</a:t>
              </a:r>
            </a:p>
          </p:txBody>
        </p:sp>
        <p:pic>
          <p:nvPicPr>
            <p:cNvPr id="5" name="Picture 4" descr="A person smiling for a picture&#10;&#10;Description automatically generated">
              <a:extLst>
                <a:ext uri="{FF2B5EF4-FFF2-40B4-BE49-F238E27FC236}">
                  <a16:creationId xmlns:a16="http://schemas.microsoft.com/office/drawing/2014/main" id="{C79D738E-2FB9-48E6-5B26-E453D58A2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1294" y="1890250"/>
              <a:ext cx="1444724" cy="2005133"/>
            </a:xfrm>
            <a:prstGeom prst="rect">
              <a:avLst/>
            </a:prstGeom>
          </p:spPr>
        </p:pic>
        <p:pic>
          <p:nvPicPr>
            <p:cNvPr id="7" name="Picture 6" descr="A person with brown hair&#10;&#10;Description automatically generated">
              <a:extLst>
                <a:ext uri="{FF2B5EF4-FFF2-40B4-BE49-F238E27FC236}">
                  <a16:creationId xmlns:a16="http://schemas.microsoft.com/office/drawing/2014/main" id="{24FD7C88-EAD8-CA47-6F61-F0602F03CD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9051" y="1870019"/>
              <a:ext cx="1444724" cy="2005133"/>
            </a:xfrm>
            <a:prstGeom prst="rect">
              <a:avLst/>
            </a:prstGeom>
          </p:spPr>
        </p:pic>
        <p:pic>
          <p:nvPicPr>
            <p:cNvPr id="9" name="Picture 8" descr="A person with dark hair wearing a suit and tie&#10;&#10;Description automatically generated">
              <a:extLst>
                <a:ext uri="{FF2B5EF4-FFF2-40B4-BE49-F238E27FC236}">
                  <a16:creationId xmlns:a16="http://schemas.microsoft.com/office/drawing/2014/main" id="{BCA95358-53FC-BF88-1320-BE4412930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249" y="1926484"/>
              <a:ext cx="1444724" cy="200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91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F95FE-B77E-8715-F93F-A98CC3B93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are we doing today 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1D15D6-9045-DC9B-00F6-05BC224465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BASED ON A REAL CLIENT CAS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E16CB3-67B5-F60E-7134-88C3322157B8}"/>
              </a:ext>
            </a:extLst>
          </p:cNvPr>
          <p:cNvSpPr/>
          <p:nvPr/>
        </p:nvSpPr>
        <p:spPr>
          <a:xfrm>
            <a:off x="1630886" y="3048698"/>
            <a:ext cx="1412534" cy="360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>
                <a:solidFill>
                  <a:schemeClr val="bg1"/>
                </a:solidFill>
              </a:rPr>
              <a:t>Our cli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A493EA-D397-1C39-8F2F-5B5C92BE8BB6}"/>
              </a:ext>
            </a:extLst>
          </p:cNvPr>
          <p:cNvSpPr/>
          <p:nvPr/>
        </p:nvSpPr>
        <p:spPr>
          <a:xfrm>
            <a:off x="3141547" y="3048698"/>
            <a:ext cx="3737769" cy="3803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dirty="0">
                <a:solidFill>
                  <a:sysClr val="windowText" lastClr="000000"/>
                </a:solidFill>
              </a:rPr>
              <a:t>An electrical car charging station manufactur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5F87CDA-3CF2-08FE-A06E-063EA85CEB7B}"/>
              </a:ext>
            </a:extLst>
          </p:cNvPr>
          <p:cNvSpPr/>
          <p:nvPr/>
        </p:nvSpPr>
        <p:spPr>
          <a:xfrm>
            <a:off x="3139472" y="3688113"/>
            <a:ext cx="8290528" cy="64189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dirty="0">
                <a:solidFill>
                  <a:sysClr val="windowText" lastClr="000000"/>
                </a:solidFill>
              </a:rPr>
              <a:t>They struck a deal with a supermarket chain to install their charging stations in all the chain’s </a:t>
            </a:r>
            <a:r>
              <a:rPr lang="en-US" sz="1400" dirty="0" err="1">
                <a:solidFill>
                  <a:sysClr val="windowText" lastClr="000000"/>
                </a:solidFill>
              </a:rPr>
              <a:t>parkings</a:t>
            </a:r>
            <a:r>
              <a:rPr lang="en-US" sz="1400" dirty="0">
                <a:solidFill>
                  <a:sysClr val="windowText" lastClr="000000"/>
                </a:solidFill>
              </a:rPr>
              <a:t>.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solidFill>
                  <a:sysClr val="windowText" lastClr="000000"/>
                </a:solidFill>
              </a:rPr>
              <a:t>They already have charging stations in these areas but want to use this deal to expand</a:t>
            </a:r>
            <a:endParaRPr lang="en-US" sz="1400" dirty="0">
              <a:solidFill>
                <a:sysClr val="windowText" lastClr="000000"/>
              </a:solidFill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7A0E11-FDA3-215F-F7C1-7F14C083CB26}"/>
              </a:ext>
            </a:extLst>
          </p:cNvPr>
          <p:cNvSpPr/>
          <p:nvPr/>
        </p:nvSpPr>
        <p:spPr>
          <a:xfrm>
            <a:off x="1630886" y="3817612"/>
            <a:ext cx="1410370" cy="360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>
                <a:solidFill>
                  <a:schemeClr val="bg1"/>
                </a:solidFill>
              </a:rPr>
              <a:t>Their contex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88F44D-7348-709F-54B6-643E49427BDD}"/>
              </a:ext>
            </a:extLst>
          </p:cNvPr>
          <p:cNvSpPr/>
          <p:nvPr/>
        </p:nvSpPr>
        <p:spPr>
          <a:xfrm>
            <a:off x="3142850" y="4481994"/>
            <a:ext cx="8290528" cy="64189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dirty="0">
                <a:solidFill>
                  <a:sysClr val="windowText" lastClr="000000"/>
                </a:solidFill>
              </a:rPr>
              <a:t>Forecast their revenue with their current stations – To convince investo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479C73-1816-5E65-DAC3-F47FC6DB8164}"/>
              </a:ext>
            </a:extLst>
          </p:cNvPr>
          <p:cNvSpPr/>
          <p:nvPr/>
        </p:nvSpPr>
        <p:spPr>
          <a:xfrm>
            <a:off x="1630886" y="4611036"/>
            <a:ext cx="1410370" cy="360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>
                <a:solidFill>
                  <a:schemeClr val="bg1"/>
                </a:solidFill>
              </a:rPr>
              <a:t>Client objectiv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3DA0DB1-9AED-4E87-13EC-714796146952}"/>
              </a:ext>
            </a:extLst>
          </p:cNvPr>
          <p:cNvSpPr/>
          <p:nvPr/>
        </p:nvSpPr>
        <p:spPr>
          <a:xfrm>
            <a:off x="3139471" y="5336887"/>
            <a:ext cx="8705340" cy="4107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solidFill>
                  <a:schemeClr val="accent6"/>
                </a:solidFill>
              </a:rPr>
              <a:t>Predict the future sales of the current install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D72E09-1AF9-01A1-6A87-66AA35D01663}"/>
              </a:ext>
            </a:extLst>
          </p:cNvPr>
          <p:cNvSpPr/>
          <p:nvPr/>
        </p:nvSpPr>
        <p:spPr>
          <a:xfrm>
            <a:off x="1630886" y="5359920"/>
            <a:ext cx="141037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>
                <a:solidFill>
                  <a:schemeClr val="bg1"/>
                </a:solidFill>
              </a:rPr>
              <a:t>Our task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BE3D81-B419-69DC-FF76-7F23CDC0B390}"/>
              </a:ext>
            </a:extLst>
          </p:cNvPr>
          <p:cNvGrpSpPr/>
          <p:nvPr/>
        </p:nvGrpSpPr>
        <p:grpSpPr>
          <a:xfrm>
            <a:off x="1059763" y="2990030"/>
            <a:ext cx="489697" cy="469621"/>
            <a:chOff x="282751" y="1829909"/>
            <a:chExt cx="687053" cy="68705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FE0B34E-76AC-B0FB-0FFB-0851FE34E963}"/>
                </a:ext>
              </a:extLst>
            </p:cNvPr>
            <p:cNvSpPr/>
            <p:nvPr/>
          </p:nvSpPr>
          <p:spPr>
            <a:xfrm>
              <a:off x="282751" y="1829909"/>
              <a:ext cx="687053" cy="687053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en-GB" sz="1400">
                <a:solidFill>
                  <a:schemeClr val="bg1"/>
                </a:solidFill>
              </a:endParaRPr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B178CA6-AD34-4EEA-F147-48C34B8D8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288" y="1957466"/>
              <a:ext cx="217978" cy="431938"/>
            </a:xfrm>
            <a:custGeom>
              <a:avLst/>
              <a:gdLst>
                <a:gd name="T0" fmla="*/ 174 w 180"/>
                <a:gd name="T1" fmla="*/ 120 h 360"/>
                <a:gd name="T2" fmla="*/ 107 w 180"/>
                <a:gd name="T3" fmla="*/ 120 h 360"/>
                <a:gd name="T4" fmla="*/ 179 w 180"/>
                <a:gd name="T5" fmla="*/ 9 h 360"/>
                <a:gd name="T6" fmla="*/ 180 w 180"/>
                <a:gd name="T7" fmla="*/ 3 h 360"/>
                <a:gd name="T8" fmla="*/ 174 w 180"/>
                <a:gd name="T9" fmla="*/ 0 h 360"/>
                <a:gd name="T10" fmla="*/ 48 w 180"/>
                <a:gd name="T11" fmla="*/ 0 h 360"/>
                <a:gd name="T12" fmla="*/ 42 w 180"/>
                <a:gd name="T13" fmla="*/ 5 h 360"/>
                <a:gd name="T14" fmla="*/ 0 w 180"/>
                <a:gd name="T15" fmla="*/ 185 h 360"/>
                <a:gd name="T16" fmla="*/ 1 w 180"/>
                <a:gd name="T17" fmla="*/ 190 h 360"/>
                <a:gd name="T18" fmla="*/ 6 w 180"/>
                <a:gd name="T19" fmla="*/ 192 h 360"/>
                <a:gd name="T20" fmla="*/ 58 w 180"/>
                <a:gd name="T21" fmla="*/ 192 h 360"/>
                <a:gd name="T22" fmla="*/ 12 w 180"/>
                <a:gd name="T23" fmla="*/ 352 h 360"/>
                <a:gd name="T24" fmla="*/ 16 w 180"/>
                <a:gd name="T25" fmla="*/ 360 h 360"/>
                <a:gd name="T26" fmla="*/ 18 w 180"/>
                <a:gd name="T27" fmla="*/ 360 h 360"/>
                <a:gd name="T28" fmla="*/ 23 w 180"/>
                <a:gd name="T29" fmla="*/ 357 h 360"/>
                <a:gd name="T30" fmla="*/ 179 w 180"/>
                <a:gd name="T31" fmla="*/ 129 h 360"/>
                <a:gd name="T32" fmla="*/ 179 w 180"/>
                <a:gd name="T33" fmla="*/ 123 h 360"/>
                <a:gd name="T34" fmla="*/ 174 w 180"/>
                <a:gd name="T35" fmla="*/ 12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360">
                  <a:moveTo>
                    <a:pt x="174" y="120"/>
                  </a:moveTo>
                  <a:cubicBezTo>
                    <a:pt x="107" y="120"/>
                    <a:pt x="107" y="120"/>
                    <a:pt x="107" y="120"/>
                  </a:cubicBezTo>
                  <a:cubicBezTo>
                    <a:pt x="179" y="9"/>
                    <a:pt x="179" y="9"/>
                    <a:pt x="179" y="9"/>
                  </a:cubicBezTo>
                  <a:cubicBezTo>
                    <a:pt x="180" y="7"/>
                    <a:pt x="180" y="5"/>
                    <a:pt x="180" y="3"/>
                  </a:cubicBezTo>
                  <a:cubicBezTo>
                    <a:pt x="178" y="1"/>
                    <a:pt x="176" y="0"/>
                    <a:pt x="17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5" y="0"/>
                    <a:pt x="43" y="2"/>
                    <a:pt x="42" y="5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186"/>
                    <a:pt x="0" y="188"/>
                    <a:pt x="1" y="190"/>
                  </a:cubicBezTo>
                  <a:cubicBezTo>
                    <a:pt x="2" y="192"/>
                    <a:pt x="4" y="192"/>
                    <a:pt x="6" y="192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12" y="352"/>
                    <a:pt x="12" y="352"/>
                    <a:pt x="12" y="352"/>
                  </a:cubicBezTo>
                  <a:cubicBezTo>
                    <a:pt x="12" y="355"/>
                    <a:pt x="13" y="358"/>
                    <a:pt x="16" y="360"/>
                  </a:cubicBezTo>
                  <a:cubicBezTo>
                    <a:pt x="16" y="360"/>
                    <a:pt x="17" y="360"/>
                    <a:pt x="18" y="360"/>
                  </a:cubicBezTo>
                  <a:cubicBezTo>
                    <a:pt x="20" y="360"/>
                    <a:pt x="22" y="359"/>
                    <a:pt x="23" y="357"/>
                  </a:cubicBezTo>
                  <a:cubicBezTo>
                    <a:pt x="179" y="129"/>
                    <a:pt x="179" y="129"/>
                    <a:pt x="179" y="129"/>
                  </a:cubicBezTo>
                  <a:cubicBezTo>
                    <a:pt x="180" y="127"/>
                    <a:pt x="180" y="125"/>
                    <a:pt x="179" y="123"/>
                  </a:cubicBezTo>
                  <a:cubicBezTo>
                    <a:pt x="178" y="121"/>
                    <a:pt x="176" y="120"/>
                    <a:pt x="174" y="12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00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7EDF99D-DED1-BFD1-61DF-9E01CD534C0E}"/>
              </a:ext>
            </a:extLst>
          </p:cNvPr>
          <p:cNvGrpSpPr/>
          <p:nvPr/>
        </p:nvGrpSpPr>
        <p:grpSpPr>
          <a:xfrm>
            <a:off x="1059763" y="3760243"/>
            <a:ext cx="489697" cy="469621"/>
            <a:chOff x="7803169" y="1800225"/>
            <a:chExt cx="1140199" cy="1140199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E8B70AB-C6CF-C4D5-8C92-800832F47321}"/>
                </a:ext>
              </a:extLst>
            </p:cNvPr>
            <p:cNvSpPr/>
            <p:nvPr/>
          </p:nvSpPr>
          <p:spPr>
            <a:xfrm>
              <a:off x="7803169" y="1800225"/>
              <a:ext cx="1140199" cy="1140199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68288" indent="-268288" algn="ctr">
                <a:spcBef>
                  <a:spcPts val="600"/>
                </a:spcBef>
                <a:buBlip>
                  <a:blip r:embed="rId2"/>
                </a:buBlip>
              </a:pPr>
              <a:endParaRPr lang="en-GB" sz="1400">
                <a:solidFill>
                  <a:schemeClr val="tx1"/>
                </a:solidFill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3D1C6E2B-7D10-ECE1-6055-E4A24846EA5A}"/>
                </a:ext>
              </a:extLst>
            </p:cNvPr>
            <p:cNvGrpSpPr/>
            <p:nvPr/>
          </p:nvGrpSpPr>
          <p:grpSpPr>
            <a:xfrm>
              <a:off x="7954168" y="2105212"/>
              <a:ext cx="838200" cy="530225"/>
              <a:chOff x="3394075" y="4610100"/>
              <a:chExt cx="838200" cy="530225"/>
            </a:xfrm>
            <a:solidFill>
              <a:schemeClr val="tx2"/>
            </a:solidFill>
          </p:grpSpPr>
          <p:sp>
            <p:nvSpPr>
              <p:cNvPr id="21" name="Freeform 32">
                <a:extLst>
                  <a:ext uri="{FF2B5EF4-FFF2-40B4-BE49-F238E27FC236}">
                    <a16:creationId xmlns:a16="http://schemas.microsoft.com/office/drawing/2014/main" id="{622A1270-9638-193F-45A1-AC253A720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800" y="4854575"/>
                <a:ext cx="136525" cy="131763"/>
              </a:xfrm>
              <a:custGeom>
                <a:avLst/>
                <a:gdLst>
                  <a:gd name="T0" fmla="*/ 37 w 41"/>
                  <a:gd name="T1" fmla="*/ 3 h 39"/>
                  <a:gd name="T2" fmla="*/ 36 w 41"/>
                  <a:gd name="T3" fmla="*/ 3 h 39"/>
                  <a:gd name="T4" fmla="*/ 29 w 41"/>
                  <a:gd name="T5" fmla="*/ 0 h 39"/>
                  <a:gd name="T6" fmla="*/ 21 w 41"/>
                  <a:gd name="T7" fmla="*/ 3 h 39"/>
                  <a:gd name="T8" fmla="*/ 4 w 41"/>
                  <a:gd name="T9" fmla="*/ 21 h 39"/>
                  <a:gd name="T10" fmla="*/ 4 w 41"/>
                  <a:gd name="T11" fmla="*/ 36 h 39"/>
                  <a:gd name="T12" fmla="*/ 4 w 41"/>
                  <a:gd name="T13" fmla="*/ 36 h 39"/>
                  <a:gd name="T14" fmla="*/ 12 w 41"/>
                  <a:gd name="T15" fmla="*/ 39 h 39"/>
                  <a:gd name="T16" fmla="*/ 19 w 41"/>
                  <a:gd name="T17" fmla="*/ 36 h 39"/>
                  <a:gd name="T18" fmla="*/ 37 w 41"/>
                  <a:gd name="T19" fmla="*/ 18 h 39"/>
                  <a:gd name="T20" fmla="*/ 37 w 41"/>
                  <a:gd name="T21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" h="39">
                    <a:moveTo>
                      <a:pt x="37" y="3"/>
                    </a:moveTo>
                    <a:cubicBezTo>
                      <a:pt x="36" y="3"/>
                      <a:pt x="36" y="3"/>
                      <a:pt x="36" y="3"/>
                    </a:cubicBezTo>
                    <a:cubicBezTo>
                      <a:pt x="34" y="1"/>
                      <a:pt x="32" y="0"/>
                      <a:pt x="29" y="0"/>
                    </a:cubicBezTo>
                    <a:cubicBezTo>
                      <a:pt x="26" y="0"/>
                      <a:pt x="23" y="1"/>
                      <a:pt x="21" y="3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0" y="25"/>
                      <a:pt x="0" y="32"/>
                      <a:pt x="4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6" y="38"/>
                      <a:pt x="9" y="39"/>
                      <a:pt x="12" y="39"/>
                    </a:cubicBezTo>
                    <a:cubicBezTo>
                      <a:pt x="15" y="39"/>
                      <a:pt x="17" y="38"/>
                      <a:pt x="19" y="36"/>
                    </a:cubicBezTo>
                    <a:cubicBezTo>
                      <a:pt x="37" y="18"/>
                      <a:pt x="37" y="18"/>
                      <a:pt x="37" y="18"/>
                    </a:cubicBezTo>
                    <a:cubicBezTo>
                      <a:pt x="41" y="14"/>
                      <a:pt x="41" y="8"/>
                      <a:pt x="3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  <p:sp>
            <p:nvSpPr>
              <p:cNvPr id="22" name="Freeform 33">
                <a:extLst>
                  <a:ext uri="{FF2B5EF4-FFF2-40B4-BE49-F238E27FC236}">
                    <a16:creationId xmlns:a16="http://schemas.microsoft.com/office/drawing/2014/main" id="{35C06D47-57FE-6D04-65EF-1577CC922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9650" y="4908550"/>
                <a:ext cx="136525" cy="131763"/>
              </a:xfrm>
              <a:custGeom>
                <a:avLst/>
                <a:gdLst>
                  <a:gd name="T0" fmla="*/ 37 w 41"/>
                  <a:gd name="T1" fmla="*/ 3 h 39"/>
                  <a:gd name="T2" fmla="*/ 37 w 41"/>
                  <a:gd name="T3" fmla="*/ 3 h 39"/>
                  <a:gd name="T4" fmla="*/ 29 w 41"/>
                  <a:gd name="T5" fmla="*/ 0 h 39"/>
                  <a:gd name="T6" fmla="*/ 22 w 41"/>
                  <a:gd name="T7" fmla="*/ 3 h 39"/>
                  <a:gd name="T8" fmla="*/ 4 w 41"/>
                  <a:gd name="T9" fmla="*/ 21 h 39"/>
                  <a:gd name="T10" fmla="*/ 5 w 41"/>
                  <a:gd name="T11" fmla="*/ 36 h 39"/>
                  <a:gd name="T12" fmla="*/ 5 w 41"/>
                  <a:gd name="T13" fmla="*/ 36 h 39"/>
                  <a:gd name="T14" fmla="*/ 12 w 41"/>
                  <a:gd name="T15" fmla="*/ 39 h 39"/>
                  <a:gd name="T16" fmla="*/ 20 w 41"/>
                  <a:gd name="T17" fmla="*/ 36 h 39"/>
                  <a:gd name="T18" fmla="*/ 37 w 41"/>
                  <a:gd name="T19" fmla="*/ 18 h 39"/>
                  <a:gd name="T20" fmla="*/ 37 w 41"/>
                  <a:gd name="T21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" h="39">
                    <a:moveTo>
                      <a:pt x="37" y="3"/>
                    </a:moveTo>
                    <a:cubicBezTo>
                      <a:pt x="37" y="3"/>
                      <a:pt x="37" y="3"/>
                      <a:pt x="37" y="3"/>
                    </a:cubicBezTo>
                    <a:cubicBezTo>
                      <a:pt x="35" y="1"/>
                      <a:pt x="32" y="0"/>
                      <a:pt x="29" y="0"/>
                    </a:cubicBezTo>
                    <a:cubicBezTo>
                      <a:pt x="27" y="0"/>
                      <a:pt x="24" y="1"/>
                      <a:pt x="22" y="3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0" y="25"/>
                      <a:pt x="0" y="32"/>
                      <a:pt x="5" y="36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7" y="38"/>
                      <a:pt x="9" y="39"/>
                      <a:pt x="12" y="39"/>
                    </a:cubicBezTo>
                    <a:cubicBezTo>
                      <a:pt x="15" y="39"/>
                      <a:pt x="18" y="38"/>
                      <a:pt x="20" y="36"/>
                    </a:cubicBezTo>
                    <a:cubicBezTo>
                      <a:pt x="37" y="18"/>
                      <a:pt x="37" y="18"/>
                      <a:pt x="37" y="18"/>
                    </a:cubicBezTo>
                    <a:cubicBezTo>
                      <a:pt x="41" y="14"/>
                      <a:pt x="41" y="7"/>
                      <a:pt x="3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  <p:sp>
            <p:nvSpPr>
              <p:cNvPr id="23" name="Freeform 34">
                <a:extLst>
                  <a:ext uri="{FF2B5EF4-FFF2-40B4-BE49-F238E27FC236}">
                    <a16:creationId xmlns:a16="http://schemas.microsoft.com/office/drawing/2014/main" id="{78DF3EEB-3820-F8FE-F252-BC28DC0D0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7438" y="4956175"/>
                <a:ext cx="136525" cy="130175"/>
              </a:xfrm>
              <a:custGeom>
                <a:avLst/>
                <a:gdLst>
                  <a:gd name="T0" fmla="*/ 37 w 41"/>
                  <a:gd name="T1" fmla="*/ 3 h 39"/>
                  <a:gd name="T2" fmla="*/ 37 w 41"/>
                  <a:gd name="T3" fmla="*/ 3 h 39"/>
                  <a:gd name="T4" fmla="*/ 29 w 41"/>
                  <a:gd name="T5" fmla="*/ 0 h 39"/>
                  <a:gd name="T6" fmla="*/ 22 w 41"/>
                  <a:gd name="T7" fmla="*/ 3 h 39"/>
                  <a:gd name="T8" fmla="*/ 4 w 41"/>
                  <a:gd name="T9" fmla="*/ 21 h 39"/>
                  <a:gd name="T10" fmla="*/ 4 w 41"/>
                  <a:gd name="T11" fmla="*/ 36 h 39"/>
                  <a:gd name="T12" fmla="*/ 5 w 41"/>
                  <a:gd name="T13" fmla="*/ 36 h 39"/>
                  <a:gd name="T14" fmla="*/ 12 w 41"/>
                  <a:gd name="T15" fmla="*/ 39 h 39"/>
                  <a:gd name="T16" fmla="*/ 20 w 41"/>
                  <a:gd name="T17" fmla="*/ 36 h 39"/>
                  <a:gd name="T18" fmla="*/ 37 w 41"/>
                  <a:gd name="T19" fmla="*/ 18 h 39"/>
                  <a:gd name="T20" fmla="*/ 37 w 41"/>
                  <a:gd name="T21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" h="39">
                    <a:moveTo>
                      <a:pt x="37" y="3"/>
                    </a:moveTo>
                    <a:cubicBezTo>
                      <a:pt x="37" y="3"/>
                      <a:pt x="37" y="3"/>
                      <a:pt x="37" y="3"/>
                    </a:cubicBezTo>
                    <a:cubicBezTo>
                      <a:pt x="35" y="1"/>
                      <a:pt x="32" y="0"/>
                      <a:pt x="29" y="0"/>
                    </a:cubicBezTo>
                    <a:cubicBezTo>
                      <a:pt x="26" y="0"/>
                      <a:pt x="24" y="1"/>
                      <a:pt x="22" y="3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0" y="25"/>
                      <a:pt x="0" y="32"/>
                      <a:pt x="4" y="36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7" y="38"/>
                      <a:pt x="9" y="39"/>
                      <a:pt x="12" y="39"/>
                    </a:cubicBezTo>
                    <a:cubicBezTo>
                      <a:pt x="15" y="39"/>
                      <a:pt x="18" y="38"/>
                      <a:pt x="20" y="36"/>
                    </a:cubicBezTo>
                    <a:cubicBezTo>
                      <a:pt x="37" y="18"/>
                      <a:pt x="37" y="18"/>
                      <a:pt x="37" y="18"/>
                    </a:cubicBezTo>
                    <a:cubicBezTo>
                      <a:pt x="41" y="14"/>
                      <a:pt x="41" y="7"/>
                      <a:pt x="3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  <p:sp>
            <p:nvSpPr>
              <p:cNvPr id="24" name="Freeform 35">
                <a:extLst>
                  <a:ext uri="{FF2B5EF4-FFF2-40B4-BE49-F238E27FC236}">
                    <a16:creationId xmlns:a16="http://schemas.microsoft.com/office/drawing/2014/main" id="{C66E157D-335C-9B6E-E843-73CF0AE8B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63" y="5005388"/>
                <a:ext cx="136525" cy="131763"/>
              </a:xfrm>
              <a:custGeom>
                <a:avLst/>
                <a:gdLst>
                  <a:gd name="T0" fmla="*/ 36 w 41"/>
                  <a:gd name="T1" fmla="*/ 3 h 39"/>
                  <a:gd name="T2" fmla="*/ 36 w 41"/>
                  <a:gd name="T3" fmla="*/ 3 h 39"/>
                  <a:gd name="T4" fmla="*/ 29 w 41"/>
                  <a:gd name="T5" fmla="*/ 0 h 39"/>
                  <a:gd name="T6" fmla="*/ 21 w 41"/>
                  <a:gd name="T7" fmla="*/ 3 h 39"/>
                  <a:gd name="T8" fmla="*/ 4 w 41"/>
                  <a:gd name="T9" fmla="*/ 21 h 39"/>
                  <a:gd name="T10" fmla="*/ 4 w 41"/>
                  <a:gd name="T11" fmla="*/ 36 h 39"/>
                  <a:gd name="T12" fmla="*/ 4 w 41"/>
                  <a:gd name="T13" fmla="*/ 36 h 39"/>
                  <a:gd name="T14" fmla="*/ 11 w 41"/>
                  <a:gd name="T15" fmla="*/ 39 h 39"/>
                  <a:gd name="T16" fmla="*/ 19 w 41"/>
                  <a:gd name="T17" fmla="*/ 36 h 39"/>
                  <a:gd name="T18" fmla="*/ 36 w 41"/>
                  <a:gd name="T19" fmla="*/ 18 h 39"/>
                  <a:gd name="T20" fmla="*/ 36 w 41"/>
                  <a:gd name="T21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" h="39">
                    <a:moveTo>
                      <a:pt x="36" y="3"/>
                    </a:moveTo>
                    <a:cubicBezTo>
                      <a:pt x="36" y="3"/>
                      <a:pt x="36" y="3"/>
                      <a:pt x="36" y="3"/>
                    </a:cubicBezTo>
                    <a:cubicBezTo>
                      <a:pt x="34" y="1"/>
                      <a:pt x="32" y="0"/>
                      <a:pt x="29" y="0"/>
                    </a:cubicBezTo>
                    <a:cubicBezTo>
                      <a:pt x="26" y="0"/>
                      <a:pt x="23" y="1"/>
                      <a:pt x="21" y="3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0" y="25"/>
                      <a:pt x="0" y="32"/>
                      <a:pt x="4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6" y="38"/>
                      <a:pt x="9" y="39"/>
                      <a:pt x="11" y="39"/>
                    </a:cubicBezTo>
                    <a:cubicBezTo>
                      <a:pt x="14" y="39"/>
                      <a:pt x="17" y="38"/>
                      <a:pt x="19" y="3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41" y="14"/>
                      <a:pt x="40" y="7"/>
                      <a:pt x="36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  <p:sp>
            <p:nvSpPr>
              <p:cNvPr id="25" name="Freeform 36">
                <a:extLst>
                  <a:ext uri="{FF2B5EF4-FFF2-40B4-BE49-F238E27FC236}">
                    <a16:creationId xmlns:a16="http://schemas.microsoft.com/office/drawing/2014/main" id="{10CCA06B-DCDE-AB0E-CAD2-05D0C7B87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4075" y="4619625"/>
                <a:ext cx="685800" cy="520700"/>
              </a:xfrm>
              <a:custGeom>
                <a:avLst/>
                <a:gdLst>
                  <a:gd name="T0" fmla="*/ 147 w 206"/>
                  <a:gd name="T1" fmla="*/ 41 h 155"/>
                  <a:gd name="T2" fmla="*/ 114 w 206"/>
                  <a:gd name="T3" fmla="*/ 66 h 155"/>
                  <a:gd name="T4" fmla="*/ 114 w 206"/>
                  <a:gd name="T5" fmla="*/ 66 h 155"/>
                  <a:gd name="T6" fmla="*/ 104 w 206"/>
                  <a:gd name="T7" fmla="*/ 67 h 155"/>
                  <a:gd name="T8" fmla="*/ 94 w 206"/>
                  <a:gd name="T9" fmla="*/ 66 h 155"/>
                  <a:gd name="T10" fmla="*/ 82 w 206"/>
                  <a:gd name="T11" fmla="*/ 54 h 155"/>
                  <a:gd name="T12" fmla="*/ 82 w 206"/>
                  <a:gd name="T13" fmla="*/ 41 h 155"/>
                  <a:gd name="T14" fmla="*/ 82 w 206"/>
                  <a:gd name="T15" fmla="*/ 41 h 155"/>
                  <a:gd name="T16" fmla="*/ 122 w 206"/>
                  <a:gd name="T17" fmla="*/ 2 h 155"/>
                  <a:gd name="T18" fmla="*/ 111 w 206"/>
                  <a:gd name="T19" fmla="*/ 0 h 155"/>
                  <a:gd name="T20" fmla="*/ 71 w 206"/>
                  <a:gd name="T21" fmla="*/ 8 h 155"/>
                  <a:gd name="T22" fmla="*/ 63 w 206"/>
                  <a:gd name="T23" fmla="*/ 9 h 155"/>
                  <a:gd name="T24" fmla="*/ 50 w 206"/>
                  <a:gd name="T25" fmla="*/ 7 h 155"/>
                  <a:gd name="T26" fmla="*/ 50 w 206"/>
                  <a:gd name="T27" fmla="*/ 7 h 155"/>
                  <a:gd name="T28" fmla="*/ 36 w 206"/>
                  <a:gd name="T29" fmla="*/ 1 h 155"/>
                  <a:gd name="T30" fmla="*/ 32 w 206"/>
                  <a:gd name="T31" fmla="*/ 0 h 155"/>
                  <a:gd name="T32" fmla="*/ 26 w 206"/>
                  <a:gd name="T33" fmla="*/ 2 h 155"/>
                  <a:gd name="T34" fmla="*/ 7 w 206"/>
                  <a:gd name="T35" fmla="*/ 47 h 155"/>
                  <a:gd name="T36" fmla="*/ 0 w 206"/>
                  <a:gd name="T37" fmla="*/ 63 h 155"/>
                  <a:gd name="T38" fmla="*/ 29 w 206"/>
                  <a:gd name="T39" fmla="*/ 85 h 155"/>
                  <a:gd name="T40" fmla="*/ 49 w 206"/>
                  <a:gd name="T41" fmla="*/ 65 h 155"/>
                  <a:gd name="T42" fmla="*/ 49 w 206"/>
                  <a:gd name="T43" fmla="*/ 65 h 155"/>
                  <a:gd name="T44" fmla="*/ 54 w 206"/>
                  <a:gd name="T45" fmla="*/ 64 h 155"/>
                  <a:gd name="T46" fmla="*/ 71 w 206"/>
                  <a:gd name="T47" fmla="*/ 80 h 155"/>
                  <a:gd name="T48" fmla="*/ 74 w 206"/>
                  <a:gd name="T49" fmla="*/ 80 h 155"/>
                  <a:gd name="T50" fmla="*/ 93 w 206"/>
                  <a:gd name="T51" fmla="*/ 95 h 155"/>
                  <a:gd name="T52" fmla="*/ 98 w 206"/>
                  <a:gd name="T53" fmla="*/ 95 h 155"/>
                  <a:gd name="T54" fmla="*/ 116 w 206"/>
                  <a:gd name="T55" fmla="*/ 110 h 155"/>
                  <a:gd name="T56" fmla="*/ 132 w 206"/>
                  <a:gd name="T57" fmla="*/ 115 h 155"/>
                  <a:gd name="T58" fmla="*/ 137 w 206"/>
                  <a:gd name="T59" fmla="*/ 132 h 155"/>
                  <a:gd name="T60" fmla="*/ 137 w 206"/>
                  <a:gd name="T61" fmla="*/ 132 h 155"/>
                  <a:gd name="T62" fmla="*/ 117 w 206"/>
                  <a:gd name="T63" fmla="*/ 153 h 155"/>
                  <a:gd name="T64" fmla="*/ 125 w 206"/>
                  <a:gd name="T65" fmla="*/ 155 h 155"/>
                  <a:gd name="T66" fmla="*/ 139 w 206"/>
                  <a:gd name="T67" fmla="*/ 143 h 155"/>
                  <a:gd name="T68" fmla="*/ 140 w 206"/>
                  <a:gd name="T69" fmla="*/ 142 h 155"/>
                  <a:gd name="T70" fmla="*/ 140 w 206"/>
                  <a:gd name="T71" fmla="*/ 142 h 155"/>
                  <a:gd name="T72" fmla="*/ 145 w 206"/>
                  <a:gd name="T73" fmla="*/ 142 h 155"/>
                  <a:gd name="T74" fmla="*/ 159 w 206"/>
                  <a:gd name="T75" fmla="*/ 129 h 155"/>
                  <a:gd name="T76" fmla="*/ 159 w 206"/>
                  <a:gd name="T77" fmla="*/ 128 h 155"/>
                  <a:gd name="T78" fmla="*/ 161 w 206"/>
                  <a:gd name="T79" fmla="*/ 128 h 155"/>
                  <a:gd name="T80" fmla="*/ 168 w 206"/>
                  <a:gd name="T81" fmla="*/ 129 h 155"/>
                  <a:gd name="T82" fmla="*/ 184 w 206"/>
                  <a:gd name="T83" fmla="*/ 115 h 155"/>
                  <a:gd name="T84" fmla="*/ 184 w 206"/>
                  <a:gd name="T85" fmla="*/ 114 h 155"/>
                  <a:gd name="T86" fmla="*/ 185 w 206"/>
                  <a:gd name="T87" fmla="*/ 114 h 155"/>
                  <a:gd name="T88" fmla="*/ 191 w 206"/>
                  <a:gd name="T89" fmla="*/ 115 h 155"/>
                  <a:gd name="T90" fmla="*/ 201 w 206"/>
                  <a:gd name="T91" fmla="*/ 111 h 155"/>
                  <a:gd name="T92" fmla="*/ 204 w 206"/>
                  <a:gd name="T93" fmla="*/ 96 h 155"/>
                  <a:gd name="T94" fmla="*/ 147 w 206"/>
                  <a:gd name="T95" fmla="*/ 4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6" h="155">
                    <a:moveTo>
                      <a:pt x="147" y="41"/>
                    </a:moveTo>
                    <a:cubicBezTo>
                      <a:pt x="129" y="59"/>
                      <a:pt x="114" y="65"/>
                      <a:pt x="114" y="66"/>
                    </a:cubicBezTo>
                    <a:cubicBezTo>
                      <a:pt x="114" y="66"/>
                      <a:pt x="114" y="66"/>
                      <a:pt x="114" y="66"/>
                    </a:cubicBezTo>
                    <a:cubicBezTo>
                      <a:pt x="111" y="66"/>
                      <a:pt x="107" y="67"/>
                      <a:pt x="104" y="67"/>
                    </a:cubicBezTo>
                    <a:cubicBezTo>
                      <a:pt x="100" y="67"/>
                      <a:pt x="96" y="66"/>
                      <a:pt x="94" y="66"/>
                    </a:cubicBezTo>
                    <a:cubicBezTo>
                      <a:pt x="91" y="64"/>
                      <a:pt x="85" y="58"/>
                      <a:pt x="82" y="54"/>
                    </a:cubicBezTo>
                    <a:cubicBezTo>
                      <a:pt x="79" y="49"/>
                      <a:pt x="82" y="41"/>
                      <a:pt x="82" y="41"/>
                    </a:cubicBezTo>
                    <a:cubicBezTo>
                      <a:pt x="82" y="41"/>
                      <a:pt x="82" y="41"/>
                      <a:pt x="82" y="41"/>
                    </a:cubicBezTo>
                    <a:cubicBezTo>
                      <a:pt x="122" y="2"/>
                      <a:pt x="122" y="2"/>
                      <a:pt x="122" y="2"/>
                    </a:cubicBezTo>
                    <a:cubicBezTo>
                      <a:pt x="120" y="1"/>
                      <a:pt x="117" y="0"/>
                      <a:pt x="111" y="0"/>
                    </a:cubicBezTo>
                    <a:cubicBezTo>
                      <a:pt x="95" y="0"/>
                      <a:pt x="72" y="7"/>
                      <a:pt x="71" y="8"/>
                    </a:cubicBezTo>
                    <a:cubicBezTo>
                      <a:pt x="69" y="8"/>
                      <a:pt x="66" y="9"/>
                      <a:pt x="63" y="9"/>
                    </a:cubicBezTo>
                    <a:cubicBezTo>
                      <a:pt x="57" y="9"/>
                      <a:pt x="51" y="7"/>
                      <a:pt x="50" y="7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46" y="7"/>
                      <a:pt x="37" y="2"/>
                      <a:pt x="36" y="1"/>
                    </a:cubicBezTo>
                    <a:cubicBezTo>
                      <a:pt x="34" y="0"/>
                      <a:pt x="33" y="0"/>
                      <a:pt x="32" y="0"/>
                    </a:cubicBezTo>
                    <a:cubicBezTo>
                      <a:pt x="28" y="0"/>
                      <a:pt x="26" y="2"/>
                      <a:pt x="26" y="2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0" y="59"/>
                      <a:pt x="0" y="62"/>
                      <a:pt x="0" y="63"/>
                    </a:cubicBezTo>
                    <a:cubicBezTo>
                      <a:pt x="11" y="66"/>
                      <a:pt x="25" y="81"/>
                      <a:pt x="29" y="85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51" y="65"/>
                      <a:pt x="53" y="64"/>
                      <a:pt x="54" y="64"/>
                    </a:cubicBezTo>
                    <a:cubicBezTo>
                      <a:pt x="67" y="64"/>
                      <a:pt x="70" y="76"/>
                      <a:pt x="71" y="80"/>
                    </a:cubicBezTo>
                    <a:cubicBezTo>
                      <a:pt x="72" y="80"/>
                      <a:pt x="73" y="80"/>
                      <a:pt x="74" y="80"/>
                    </a:cubicBezTo>
                    <a:cubicBezTo>
                      <a:pt x="89" y="80"/>
                      <a:pt x="92" y="91"/>
                      <a:pt x="93" y="95"/>
                    </a:cubicBezTo>
                    <a:cubicBezTo>
                      <a:pt x="95" y="95"/>
                      <a:pt x="97" y="95"/>
                      <a:pt x="98" y="95"/>
                    </a:cubicBezTo>
                    <a:cubicBezTo>
                      <a:pt x="112" y="95"/>
                      <a:pt x="115" y="106"/>
                      <a:pt x="116" y="110"/>
                    </a:cubicBezTo>
                    <a:cubicBezTo>
                      <a:pt x="123" y="109"/>
                      <a:pt x="128" y="111"/>
                      <a:pt x="132" y="115"/>
                    </a:cubicBezTo>
                    <a:cubicBezTo>
                      <a:pt x="138" y="121"/>
                      <a:pt x="137" y="131"/>
                      <a:pt x="137" y="132"/>
                    </a:cubicBezTo>
                    <a:cubicBezTo>
                      <a:pt x="137" y="132"/>
                      <a:pt x="137" y="132"/>
                      <a:pt x="137" y="132"/>
                    </a:cubicBezTo>
                    <a:cubicBezTo>
                      <a:pt x="117" y="153"/>
                      <a:pt x="117" y="153"/>
                      <a:pt x="117" y="153"/>
                    </a:cubicBezTo>
                    <a:cubicBezTo>
                      <a:pt x="120" y="154"/>
                      <a:pt x="122" y="155"/>
                      <a:pt x="125" y="155"/>
                    </a:cubicBezTo>
                    <a:cubicBezTo>
                      <a:pt x="135" y="155"/>
                      <a:pt x="139" y="143"/>
                      <a:pt x="139" y="143"/>
                    </a:cubicBezTo>
                    <a:cubicBezTo>
                      <a:pt x="140" y="142"/>
                      <a:pt x="140" y="142"/>
                      <a:pt x="140" y="142"/>
                    </a:cubicBezTo>
                    <a:cubicBezTo>
                      <a:pt x="140" y="142"/>
                      <a:pt x="140" y="142"/>
                      <a:pt x="140" y="142"/>
                    </a:cubicBezTo>
                    <a:cubicBezTo>
                      <a:pt x="142" y="142"/>
                      <a:pt x="144" y="142"/>
                      <a:pt x="145" y="142"/>
                    </a:cubicBezTo>
                    <a:cubicBezTo>
                      <a:pt x="159" y="142"/>
                      <a:pt x="159" y="130"/>
                      <a:pt x="159" y="129"/>
                    </a:cubicBezTo>
                    <a:cubicBezTo>
                      <a:pt x="159" y="128"/>
                      <a:pt x="159" y="128"/>
                      <a:pt x="159" y="128"/>
                    </a:cubicBezTo>
                    <a:cubicBezTo>
                      <a:pt x="161" y="128"/>
                      <a:pt x="161" y="128"/>
                      <a:pt x="161" y="128"/>
                    </a:cubicBezTo>
                    <a:cubicBezTo>
                      <a:pt x="164" y="129"/>
                      <a:pt x="166" y="129"/>
                      <a:pt x="168" y="129"/>
                    </a:cubicBezTo>
                    <a:cubicBezTo>
                      <a:pt x="182" y="129"/>
                      <a:pt x="184" y="116"/>
                      <a:pt x="184" y="115"/>
                    </a:cubicBezTo>
                    <a:cubicBezTo>
                      <a:pt x="184" y="114"/>
                      <a:pt x="184" y="114"/>
                      <a:pt x="184" y="114"/>
                    </a:cubicBezTo>
                    <a:cubicBezTo>
                      <a:pt x="185" y="114"/>
                      <a:pt x="185" y="114"/>
                      <a:pt x="185" y="114"/>
                    </a:cubicBezTo>
                    <a:cubicBezTo>
                      <a:pt x="187" y="115"/>
                      <a:pt x="189" y="115"/>
                      <a:pt x="191" y="115"/>
                    </a:cubicBezTo>
                    <a:cubicBezTo>
                      <a:pt x="196" y="115"/>
                      <a:pt x="199" y="113"/>
                      <a:pt x="201" y="111"/>
                    </a:cubicBezTo>
                    <a:cubicBezTo>
                      <a:pt x="206" y="105"/>
                      <a:pt x="204" y="97"/>
                      <a:pt x="204" y="96"/>
                    </a:cubicBezTo>
                    <a:cubicBezTo>
                      <a:pt x="200" y="82"/>
                      <a:pt x="154" y="46"/>
                      <a:pt x="147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  <p:sp>
            <p:nvSpPr>
              <p:cNvPr id="26" name="Freeform 37">
                <a:extLst>
                  <a:ext uri="{FF2B5EF4-FFF2-40B4-BE49-F238E27FC236}">
                    <a16:creationId xmlns:a16="http://schemas.microsoft.com/office/drawing/2014/main" id="{2AA15027-F0CB-D374-C6B7-E279990FC3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6650" y="4610100"/>
                <a:ext cx="555625" cy="312738"/>
              </a:xfrm>
              <a:custGeom>
                <a:avLst/>
                <a:gdLst>
                  <a:gd name="T0" fmla="*/ 141 w 167"/>
                  <a:gd name="T1" fmla="*/ 9 h 93"/>
                  <a:gd name="T2" fmla="*/ 141 w 167"/>
                  <a:gd name="T3" fmla="*/ 9 h 93"/>
                  <a:gd name="T4" fmla="*/ 135 w 167"/>
                  <a:gd name="T5" fmla="*/ 3 h 93"/>
                  <a:gd name="T6" fmla="*/ 134 w 167"/>
                  <a:gd name="T7" fmla="*/ 3 h 93"/>
                  <a:gd name="T8" fmla="*/ 107 w 167"/>
                  <a:gd name="T9" fmla="*/ 12 h 93"/>
                  <a:gd name="T10" fmla="*/ 103 w 167"/>
                  <a:gd name="T11" fmla="*/ 12 h 93"/>
                  <a:gd name="T12" fmla="*/ 79 w 167"/>
                  <a:gd name="T13" fmla="*/ 6 h 93"/>
                  <a:gd name="T14" fmla="*/ 79 w 167"/>
                  <a:gd name="T15" fmla="*/ 6 h 93"/>
                  <a:gd name="T16" fmla="*/ 59 w 167"/>
                  <a:gd name="T17" fmla="*/ 0 h 93"/>
                  <a:gd name="T18" fmla="*/ 52 w 167"/>
                  <a:gd name="T19" fmla="*/ 2 h 93"/>
                  <a:gd name="T20" fmla="*/ 4 w 167"/>
                  <a:gd name="T21" fmla="*/ 46 h 93"/>
                  <a:gd name="T22" fmla="*/ 12 w 167"/>
                  <a:gd name="T23" fmla="*/ 62 h 93"/>
                  <a:gd name="T24" fmla="*/ 20 w 167"/>
                  <a:gd name="T25" fmla="*/ 63 h 93"/>
                  <a:gd name="T26" fmla="*/ 26 w 167"/>
                  <a:gd name="T27" fmla="*/ 62 h 93"/>
                  <a:gd name="T28" fmla="*/ 26 w 167"/>
                  <a:gd name="T29" fmla="*/ 62 h 93"/>
                  <a:gd name="T30" fmla="*/ 26 w 167"/>
                  <a:gd name="T31" fmla="*/ 62 h 93"/>
                  <a:gd name="T32" fmla="*/ 62 w 167"/>
                  <a:gd name="T33" fmla="*/ 37 h 93"/>
                  <a:gd name="T34" fmla="*/ 63 w 167"/>
                  <a:gd name="T35" fmla="*/ 36 h 93"/>
                  <a:gd name="T36" fmla="*/ 63 w 167"/>
                  <a:gd name="T37" fmla="*/ 37 h 93"/>
                  <a:gd name="T38" fmla="*/ 125 w 167"/>
                  <a:gd name="T39" fmla="*/ 91 h 93"/>
                  <a:gd name="T40" fmla="*/ 130 w 167"/>
                  <a:gd name="T41" fmla="*/ 93 h 93"/>
                  <a:gd name="T42" fmla="*/ 133 w 167"/>
                  <a:gd name="T43" fmla="*/ 92 h 93"/>
                  <a:gd name="T44" fmla="*/ 133 w 167"/>
                  <a:gd name="T45" fmla="*/ 92 h 93"/>
                  <a:gd name="T46" fmla="*/ 160 w 167"/>
                  <a:gd name="T47" fmla="*/ 69 h 93"/>
                  <a:gd name="T48" fmla="*/ 160 w 167"/>
                  <a:gd name="T49" fmla="*/ 69 h 93"/>
                  <a:gd name="T50" fmla="*/ 166 w 167"/>
                  <a:gd name="T51" fmla="*/ 65 h 93"/>
                  <a:gd name="T52" fmla="*/ 166 w 167"/>
                  <a:gd name="T53" fmla="*/ 60 h 93"/>
                  <a:gd name="T54" fmla="*/ 141 w 167"/>
                  <a:gd name="T55" fmla="*/ 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67" h="93">
                    <a:moveTo>
                      <a:pt x="141" y="9"/>
                    </a:moveTo>
                    <a:cubicBezTo>
                      <a:pt x="141" y="9"/>
                      <a:pt x="141" y="9"/>
                      <a:pt x="141" y="9"/>
                    </a:cubicBezTo>
                    <a:cubicBezTo>
                      <a:pt x="140" y="3"/>
                      <a:pt x="137" y="3"/>
                      <a:pt x="135" y="3"/>
                    </a:cubicBezTo>
                    <a:cubicBezTo>
                      <a:pt x="134" y="3"/>
                      <a:pt x="134" y="3"/>
                      <a:pt x="134" y="3"/>
                    </a:cubicBezTo>
                    <a:cubicBezTo>
                      <a:pt x="124" y="11"/>
                      <a:pt x="113" y="12"/>
                      <a:pt x="107" y="12"/>
                    </a:cubicBezTo>
                    <a:cubicBezTo>
                      <a:pt x="105" y="12"/>
                      <a:pt x="103" y="12"/>
                      <a:pt x="103" y="12"/>
                    </a:cubicBezTo>
                    <a:cubicBezTo>
                      <a:pt x="93" y="11"/>
                      <a:pt x="80" y="6"/>
                      <a:pt x="79" y="6"/>
                    </a:cubicBezTo>
                    <a:cubicBezTo>
                      <a:pt x="79" y="6"/>
                      <a:pt x="79" y="6"/>
                      <a:pt x="79" y="6"/>
                    </a:cubicBezTo>
                    <a:cubicBezTo>
                      <a:pt x="71" y="2"/>
                      <a:pt x="65" y="0"/>
                      <a:pt x="59" y="0"/>
                    </a:cubicBezTo>
                    <a:cubicBezTo>
                      <a:pt x="54" y="0"/>
                      <a:pt x="52" y="2"/>
                      <a:pt x="52" y="2"/>
                    </a:cubicBezTo>
                    <a:cubicBezTo>
                      <a:pt x="28" y="27"/>
                      <a:pt x="7" y="44"/>
                      <a:pt x="4" y="46"/>
                    </a:cubicBezTo>
                    <a:cubicBezTo>
                      <a:pt x="0" y="54"/>
                      <a:pt x="11" y="61"/>
                      <a:pt x="12" y="62"/>
                    </a:cubicBezTo>
                    <a:cubicBezTo>
                      <a:pt x="15" y="63"/>
                      <a:pt x="17" y="63"/>
                      <a:pt x="20" y="63"/>
                    </a:cubicBezTo>
                    <a:cubicBezTo>
                      <a:pt x="24" y="63"/>
                      <a:pt x="26" y="62"/>
                      <a:pt x="26" y="62"/>
                    </a:cubicBezTo>
                    <a:cubicBezTo>
                      <a:pt x="26" y="62"/>
                      <a:pt x="26" y="62"/>
                      <a:pt x="26" y="62"/>
                    </a:cubicBezTo>
                    <a:cubicBezTo>
                      <a:pt x="26" y="62"/>
                      <a:pt x="26" y="62"/>
                      <a:pt x="26" y="62"/>
                    </a:cubicBezTo>
                    <a:cubicBezTo>
                      <a:pt x="32" y="62"/>
                      <a:pt x="54" y="44"/>
                      <a:pt x="62" y="37"/>
                    </a:cubicBezTo>
                    <a:cubicBezTo>
                      <a:pt x="63" y="36"/>
                      <a:pt x="63" y="36"/>
                      <a:pt x="63" y="36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90" y="50"/>
                      <a:pt x="123" y="89"/>
                      <a:pt x="125" y="91"/>
                    </a:cubicBezTo>
                    <a:cubicBezTo>
                      <a:pt x="127" y="92"/>
                      <a:pt x="129" y="93"/>
                      <a:pt x="130" y="93"/>
                    </a:cubicBezTo>
                    <a:cubicBezTo>
                      <a:pt x="132" y="93"/>
                      <a:pt x="133" y="92"/>
                      <a:pt x="133" y="92"/>
                    </a:cubicBezTo>
                    <a:cubicBezTo>
                      <a:pt x="133" y="92"/>
                      <a:pt x="133" y="92"/>
                      <a:pt x="133" y="92"/>
                    </a:cubicBezTo>
                    <a:cubicBezTo>
                      <a:pt x="160" y="69"/>
                      <a:pt x="160" y="69"/>
                      <a:pt x="160" y="69"/>
                    </a:cubicBezTo>
                    <a:cubicBezTo>
                      <a:pt x="160" y="69"/>
                      <a:pt x="160" y="69"/>
                      <a:pt x="160" y="69"/>
                    </a:cubicBezTo>
                    <a:cubicBezTo>
                      <a:pt x="163" y="68"/>
                      <a:pt x="165" y="67"/>
                      <a:pt x="166" y="65"/>
                    </a:cubicBezTo>
                    <a:cubicBezTo>
                      <a:pt x="167" y="62"/>
                      <a:pt x="166" y="60"/>
                      <a:pt x="166" y="60"/>
                    </a:cubicBezTo>
                    <a:lnTo>
                      <a:pt x="14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20D8BAB-A120-1FE0-B57A-5368407CF2C3}"/>
              </a:ext>
            </a:extLst>
          </p:cNvPr>
          <p:cNvGrpSpPr/>
          <p:nvPr/>
        </p:nvGrpSpPr>
        <p:grpSpPr>
          <a:xfrm>
            <a:off x="1056589" y="4545166"/>
            <a:ext cx="496317" cy="475969"/>
            <a:chOff x="957869" y="4279716"/>
            <a:chExt cx="1140199" cy="1140199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BDC54EE0-14D2-76E3-0447-EEE3D0527767}"/>
                </a:ext>
              </a:extLst>
            </p:cNvPr>
            <p:cNvSpPr/>
            <p:nvPr/>
          </p:nvSpPr>
          <p:spPr>
            <a:xfrm>
              <a:off x="957869" y="4279716"/>
              <a:ext cx="1140199" cy="1140199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68288" indent="-268288" algn="ctr">
                <a:spcBef>
                  <a:spcPts val="600"/>
                </a:spcBef>
                <a:buBlip>
                  <a:blip r:embed="rId2"/>
                </a:buBlip>
              </a:pPr>
              <a:endParaRPr lang="en-GB" sz="1400">
                <a:solidFill>
                  <a:schemeClr val="tx1"/>
                </a:solidFill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024B0FD-C39C-4A7C-36CB-96B63F699F95}"/>
                </a:ext>
              </a:extLst>
            </p:cNvPr>
            <p:cNvGrpSpPr/>
            <p:nvPr/>
          </p:nvGrpSpPr>
          <p:grpSpPr>
            <a:xfrm>
              <a:off x="1159078" y="4412530"/>
              <a:ext cx="805072" cy="806352"/>
              <a:chOff x="-704850" y="3187700"/>
              <a:chExt cx="1000125" cy="1001713"/>
            </a:xfrm>
            <a:solidFill>
              <a:schemeClr val="tx2"/>
            </a:solidFill>
          </p:grpSpPr>
          <p:sp>
            <p:nvSpPr>
              <p:cNvPr id="30" name="Freeform 5">
                <a:extLst>
                  <a:ext uri="{FF2B5EF4-FFF2-40B4-BE49-F238E27FC236}">
                    <a16:creationId xmlns:a16="http://schemas.microsoft.com/office/drawing/2014/main" id="{BAD1749D-1C1E-A604-4A8D-2F25C2B68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4488" y="3187700"/>
                <a:ext cx="639763" cy="641350"/>
              </a:xfrm>
              <a:custGeom>
                <a:avLst/>
                <a:gdLst>
                  <a:gd name="T0" fmla="*/ 179 w 227"/>
                  <a:gd name="T1" fmla="*/ 0 h 227"/>
                  <a:gd name="T2" fmla="*/ 135 w 227"/>
                  <a:gd name="T3" fmla="*/ 44 h 227"/>
                  <a:gd name="T4" fmla="*/ 123 w 227"/>
                  <a:gd name="T5" fmla="*/ 93 h 227"/>
                  <a:gd name="T6" fmla="*/ 121 w 227"/>
                  <a:gd name="T7" fmla="*/ 91 h 227"/>
                  <a:gd name="T8" fmla="*/ 115 w 227"/>
                  <a:gd name="T9" fmla="*/ 98 h 227"/>
                  <a:gd name="T10" fmla="*/ 46 w 227"/>
                  <a:gd name="T11" fmla="*/ 166 h 227"/>
                  <a:gd name="T12" fmla="*/ 32 w 227"/>
                  <a:gd name="T13" fmla="*/ 163 h 227"/>
                  <a:gd name="T14" fmla="*/ 0 w 227"/>
                  <a:gd name="T15" fmla="*/ 195 h 227"/>
                  <a:gd name="T16" fmla="*/ 32 w 227"/>
                  <a:gd name="T17" fmla="*/ 227 h 227"/>
                  <a:gd name="T18" fmla="*/ 64 w 227"/>
                  <a:gd name="T19" fmla="*/ 195 h 227"/>
                  <a:gd name="T20" fmla="*/ 61 w 227"/>
                  <a:gd name="T21" fmla="*/ 181 h 227"/>
                  <a:gd name="T22" fmla="*/ 87 w 227"/>
                  <a:gd name="T23" fmla="*/ 155 h 227"/>
                  <a:gd name="T24" fmla="*/ 87 w 227"/>
                  <a:gd name="T25" fmla="*/ 155 h 227"/>
                  <a:gd name="T26" fmla="*/ 109 w 227"/>
                  <a:gd name="T27" fmla="*/ 132 h 227"/>
                  <a:gd name="T28" fmla="*/ 109 w 227"/>
                  <a:gd name="T29" fmla="*/ 132 h 227"/>
                  <a:gd name="T30" fmla="*/ 136 w 227"/>
                  <a:gd name="T31" fmla="*/ 106 h 227"/>
                  <a:gd name="T32" fmla="*/ 134 w 227"/>
                  <a:gd name="T33" fmla="*/ 104 h 227"/>
                  <a:gd name="T34" fmla="*/ 159 w 227"/>
                  <a:gd name="T35" fmla="*/ 98 h 227"/>
                  <a:gd name="T36" fmla="*/ 159 w 227"/>
                  <a:gd name="T37" fmla="*/ 98 h 227"/>
                  <a:gd name="T38" fmla="*/ 183 w 227"/>
                  <a:gd name="T39" fmla="*/ 92 h 227"/>
                  <a:gd name="T40" fmla="*/ 227 w 227"/>
                  <a:gd name="T41" fmla="*/ 48 h 227"/>
                  <a:gd name="T42" fmla="*/ 179 w 227"/>
                  <a:gd name="T43" fmla="*/ 48 h 227"/>
                  <a:gd name="T44" fmla="*/ 179 w 227"/>
                  <a:gd name="T45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7" h="227">
                    <a:moveTo>
                      <a:pt x="179" y="0"/>
                    </a:moveTo>
                    <a:cubicBezTo>
                      <a:pt x="135" y="44"/>
                      <a:pt x="135" y="44"/>
                      <a:pt x="135" y="44"/>
                    </a:cubicBezTo>
                    <a:cubicBezTo>
                      <a:pt x="123" y="93"/>
                      <a:pt x="123" y="93"/>
                      <a:pt x="123" y="93"/>
                    </a:cubicBezTo>
                    <a:cubicBezTo>
                      <a:pt x="121" y="91"/>
                      <a:pt x="121" y="91"/>
                      <a:pt x="121" y="91"/>
                    </a:cubicBezTo>
                    <a:cubicBezTo>
                      <a:pt x="115" y="98"/>
                      <a:pt x="115" y="98"/>
                      <a:pt x="115" y="98"/>
                    </a:cubicBezTo>
                    <a:cubicBezTo>
                      <a:pt x="46" y="166"/>
                      <a:pt x="46" y="166"/>
                      <a:pt x="46" y="166"/>
                    </a:cubicBezTo>
                    <a:cubicBezTo>
                      <a:pt x="42" y="164"/>
                      <a:pt x="37" y="163"/>
                      <a:pt x="32" y="163"/>
                    </a:cubicBezTo>
                    <a:cubicBezTo>
                      <a:pt x="14" y="163"/>
                      <a:pt x="0" y="177"/>
                      <a:pt x="0" y="195"/>
                    </a:cubicBezTo>
                    <a:cubicBezTo>
                      <a:pt x="0" y="213"/>
                      <a:pt x="14" y="227"/>
                      <a:pt x="32" y="227"/>
                    </a:cubicBezTo>
                    <a:cubicBezTo>
                      <a:pt x="50" y="227"/>
                      <a:pt x="64" y="213"/>
                      <a:pt x="64" y="195"/>
                    </a:cubicBezTo>
                    <a:cubicBezTo>
                      <a:pt x="64" y="190"/>
                      <a:pt x="63" y="185"/>
                      <a:pt x="61" y="181"/>
                    </a:cubicBezTo>
                    <a:cubicBezTo>
                      <a:pt x="87" y="155"/>
                      <a:pt x="87" y="155"/>
                      <a:pt x="87" y="155"/>
                    </a:cubicBezTo>
                    <a:cubicBezTo>
                      <a:pt x="87" y="155"/>
                      <a:pt x="87" y="155"/>
                      <a:pt x="87" y="155"/>
                    </a:cubicBezTo>
                    <a:cubicBezTo>
                      <a:pt x="109" y="132"/>
                      <a:pt x="109" y="132"/>
                      <a:pt x="109" y="132"/>
                    </a:cubicBezTo>
                    <a:cubicBezTo>
                      <a:pt x="109" y="132"/>
                      <a:pt x="109" y="132"/>
                      <a:pt x="109" y="132"/>
                    </a:cubicBezTo>
                    <a:cubicBezTo>
                      <a:pt x="136" y="106"/>
                      <a:pt x="136" y="106"/>
                      <a:pt x="136" y="106"/>
                    </a:cubicBezTo>
                    <a:cubicBezTo>
                      <a:pt x="134" y="104"/>
                      <a:pt x="134" y="104"/>
                      <a:pt x="134" y="104"/>
                    </a:cubicBezTo>
                    <a:cubicBezTo>
                      <a:pt x="159" y="98"/>
                      <a:pt x="159" y="98"/>
                      <a:pt x="159" y="98"/>
                    </a:cubicBezTo>
                    <a:cubicBezTo>
                      <a:pt x="159" y="98"/>
                      <a:pt x="159" y="98"/>
                      <a:pt x="159" y="98"/>
                    </a:cubicBezTo>
                    <a:cubicBezTo>
                      <a:pt x="183" y="92"/>
                      <a:pt x="183" y="92"/>
                      <a:pt x="183" y="92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179" y="48"/>
                      <a:pt x="179" y="48"/>
                      <a:pt x="179" y="48"/>
                    </a:cubicBezTo>
                    <a:lnTo>
                      <a:pt x="17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AD718315-9699-9ED4-7D31-44951DEEE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36575" y="3455988"/>
                <a:ext cx="565150" cy="563563"/>
              </a:xfrm>
              <a:custGeom>
                <a:avLst/>
                <a:gdLst>
                  <a:gd name="T0" fmla="*/ 100 w 200"/>
                  <a:gd name="T1" fmla="*/ 32 h 200"/>
                  <a:gd name="T2" fmla="*/ 122 w 200"/>
                  <a:gd name="T3" fmla="*/ 36 h 200"/>
                  <a:gd name="T4" fmla="*/ 146 w 200"/>
                  <a:gd name="T5" fmla="*/ 11 h 200"/>
                  <a:gd name="T6" fmla="*/ 100 w 200"/>
                  <a:gd name="T7" fmla="*/ 0 h 200"/>
                  <a:gd name="T8" fmla="*/ 0 w 200"/>
                  <a:gd name="T9" fmla="*/ 100 h 200"/>
                  <a:gd name="T10" fmla="*/ 100 w 200"/>
                  <a:gd name="T11" fmla="*/ 200 h 200"/>
                  <a:gd name="T12" fmla="*/ 200 w 200"/>
                  <a:gd name="T13" fmla="*/ 100 h 200"/>
                  <a:gd name="T14" fmla="*/ 189 w 200"/>
                  <a:gd name="T15" fmla="*/ 54 h 200"/>
                  <a:gd name="T16" fmla="*/ 164 w 200"/>
                  <a:gd name="T17" fmla="*/ 78 h 200"/>
                  <a:gd name="T18" fmla="*/ 168 w 200"/>
                  <a:gd name="T19" fmla="*/ 100 h 200"/>
                  <a:gd name="T20" fmla="*/ 100 w 200"/>
                  <a:gd name="T21" fmla="*/ 168 h 200"/>
                  <a:gd name="T22" fmla="*/ 32 w 200"/>
                  <a:gd name="T23" fmla="*/ 100 h 200"/>
                  <a:gd name="T24" fmla="*/ 100 w 200"/>
                  <a:gd name="T25" fmla="*/ 3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0" h="200">
                    <a:moveTo>
                      <a:pt x="100" y="32"/>
                    </a:moveTo>
                    <a:cubicBezTo>
                      <a:pt x="108" y="32"/>
                      <a:pt x="115" y="33"/>
                      <a:pt x="122" y="36"/>
                    </a:cubicBezTo>
                    <a:cubicBezTo>
                      <a:pt x="146" y="11"/>
                      <a:pt x="146" y="11"/>
                      <a:pt x="146" y="11"/>
                    </a:cubicBezTo>
                    <a:cubicBezTo>
                      <a:pt x="132" y="4"/>
                      <a:pt x="117" y="0"/>
                      <a:pt x="100" y="0"/>
                    </a:cubicBezTo>
                    <a:cubicBezTo>
                      <a:pt x="45" y="0"/>
                      <a:pt x="0" y="45"/>
                      <a:pt x="0" y="100"/>
                    </a:cubicBezTo>
                    <a:cubicBezTo>
                      <a:pt x="0" y="155"/>
                      <a:pt x="45" y="200"/>
                      <a:pt x="100" y="200"/>
                    </a:cubicBezTo>
                    <a:cubicBezTo>
                      <a:pt x="155" y="200"/>
                      <a:pt x="200" y="155"/>
                      <a:pt x="200" y="100"/>
                    </a:cubicBezTo>
                    <a:cubicBezTo>
                      <a:pt x="200" y="83"/>
                      <a:pt x="196" y="68"/>
                      <a:pt x="189" y="54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7" y="85"/>
                      <a:pt x="168" y="92"/>
                      <a:pt x="168" y="100"/>
                    </a:cubicBezTo>
                    <a:cubicBezTo>
                      <a:pt x="168" y="137"/>
                      <a:pt x="137" y="168"/>
                      <a:pt x="100" y="168"/>
                    </a:cubicBezTo>
                    <a:cubicBezTo>
                      <a:pt x="63" y="168"/>
                      <a:pt x="32" y="137"/>
                      <a:pt x="32" y="100"/>
                    </a:cubicBezTo>
                    <a:cubicBezTo>
                      <a:pt x="32" y="63"/>
                      <a:pt x="63" y="32"/>
                      <a:pt x="100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8A37F8D0-D203-FF7F-97D4-C9236BD49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4850" y="3286125"/>
                <a:ext cx="901700" cy="903288"/>
              </a:xfrm>
              <a:custGeom>
                <a:avLst/>
                <a:gdLst>
                  <a:gd name="T0" fmla="*/ 276 w 320"/>
                  <a:gd name="T1" fmla="*/ 87 h 320"/>
                  <a:gd name="T2" fmla="*/ 269 w 320"/>
                  <a:gd name="T3" fmla="*/ 93 h 320"/>
                  <a:gd name="T4" fmla="*/ 288 w 320"/>
                  <a:gd name="T5" fmla="*/ 160 h 320"/>
                  <a:gd name="T6" fmla="*/ 160 w 320"/>
                  <a:gd name="T7" fmla="*/ 288 h 320"/>
                  <a:gd name="T8" fmla="*/ 32 w 320"/>
                  <a:gd name="T9" fmla="*/ 160 h 320"/>
                  <a:gd name="T10" fmla="*/ 160 w 320"/>
                  <a:gd name="T11" fmla="*/ 32 h 320"/>
                  <a:gd name="T12" fmla="*/ 227 w 320"/>
                  <a:gd name="T13" fmla="*/ 51 h 320"/>
                  <a:gd name="T14" fmla="*/ 233 w 320"/>
                  <a:gd name="T15" fmla="*/ 44 h 320"/>
                  <a:gd name="T16" fmla="*/ 239 w 320"/>
                  <a:gd name="T17" fmla="*/ 21 h 320"/>
                  <a:gd name="T18" fmla="*/ 160 w 320"/>
                  <a:gd name="T19" fmla="*/ 0 h 320"/>
                  <a:gd name="T20" fmla="*/ 0 w 320"/>
                  <a:gd name="T21" fmla="*/ 160 h 320"/>
                  <a:gd name="T22" fmla="*/ 160 w 320"/>
                  <a:gd name="T23" fmla="*/ 320 h 320"/>
                  <a:gd name="T24" fmla="*/ 320 w 320"/>
                  <a:gd name="T25" fmla="*/ 160 h 320"/>
                  <a:gd name="T26" fmla="*/ 299 w 320"/>
                  <a:gd name="T27" fmla="*/ 81 h 320"/>
                  <a:gd name="T28" fmla="*/ 276 w 320"/>
                  <a:gd name="T29" fmla="*/ 87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0" h="320">
                    <a:moveTo>
                      <a:pt x="276" y="87"/>
                    </a:moveTo>
                    <a:cubicBezTo>
                      <a:pt x="269" y="93"/>
                      <a:pt x="269" y="93"/>
                      <a:pt x="269" y="93"/>
                    </a:cubicBezTo>
                    <a:cubicBezTo>
                      <a:pt x="281" y="113"/>
                      <a:pt x="288" y="136"/>
                      <a:pt x="288" y="160"/>
                    </a:cubicBezTo>
                    <a:cubicBezTo>
                      <a:pt x="288" y="231"/>
                      <a:pt x="231" y="288"/>
                      <a:pt x="160" y="288"/>
                    </a:cubicBezTo>
                    <a:cubicBezTo>
                      <a:pt x="89" y="288"/>
                      <a:pt x="32" y="231"/>
                      <a:pt x="32" y="160"/>
                    </a:cubicBezTo>
                    <a:cubicBezTo>
                      <a:pt x="32" y="89"/>
                      <a:pt x="89" y="32"/>
                      <a:pt x="160" y="32"/>
                    </a:cubicBezTo>
                    <a:cubicBezTo>
                      <a:pt x="184" y="32"/>
                      <a:pt x="207" y="39"/>
                      <a:pt x="227" y="51"/>
                    </a:cubicBezTo>
                    <a:cubicBezTo>
                      <a:pt x="233" y="44"/>
                      <a:pt x="233" y="44"/>
                      <a:pt x="233" y="44"/>
                    </a:cubicBezTo>
                    <a:cubicBezTo>
                      <a:pt x="239" y="21"/>
                      <a:pt x="239" y="21"/>
                      <a:pt x="239" y="21"/>
                    </a:cubicBezTo>
                    <a:cubicBezTo>
                      <a:pt x="216" y="8"/>
                      <a:pt x="189" y="0"/>
                      <a:pt x="160" y="0"/>
                    </a:cubicBezTo>
                    <a:cubicBezTo>
                      <a:pt x="72" y="0"/>
                      <a:pt x="0" y="72"/>
                      <a:pt x="0" y="160"/>
                    </a:cubicBezTo>
                    <a:cubicBezTo>
                      <a:pt x="0" y="248"/>
                      <a:pt x="72" y="320"/>
                      <a:pt x="160" y="320"/>
                    </a:cubicBezTo>
                    <a:cubicBezTo>
                      <a:pt x="248" y="320"/>
                      <a:pt x="320" y="248"/>
                      <a:pt x="320" y="160"/>
                    </a:cubicBezTo>
                    <a:cubicBezTo>
                      <a:pt x="320" y="131"/>
                      <a:pt x="312" y="104"/>
                      <a:pt x="299" y="81"/>
                    </a:cubicBezTo>
                    <a:lnTo>
                      <a:pt x="276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000"/>
              </a:p>
            </p:txBody>
          </p: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42C24FA-CD12-35FB-0BF6-83F9F1DBD5E4}"/>
              </a:ext>
            </a:extLst>
          </p:cNvPr>
          <p:cNvGrpSpPr/>
          <p:nvPr/>
        </p:nvGrpSpPr>
        <p:grpSpPr>
          <a:xfrm>
            <a:off x="1059140" y="5292836"/>
            <a:ext cx="490993" cy="470864"/>
            <a:chOff x="3239636" y="4279716"/>
            <a:chExt cx="1140199" cy="114019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CCF5BC1-49A2-BE7E-F847-39426118BA95}"/>
                </a:ext>
              </a:extLst>
            </p:cNvPr>
            <p:cNvSpPr/>
            <p:nvPr/>
          </p:nvSpPr>
          <p:spPr>
            <a:xfrm>
              <a:off x="3239636" y="4279716"/>
              <a:ext cx="1140199" cy="1140199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68288" indent="-268288" algn="ctr">
                <a:spcBef>
                  <a:spcPts val="600"/>
                </a:spcBef>
                <a:buBlip>
                  <a:blip r:embed="rId2"/>
                </a:buBlip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37" name="Freeform 132">
              <a:extLst>
                <a:ext uri="{FF2B5EF4-FFF2-40B4-BE49-F238E27FC236}">
                  <a16:creationId xmlns:a16="http://schemas.microsoft.com/office/drawing/2014/main" id="{7BE3939B-1103-CF47-0CD5-7691A159824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474365" y="4575487"/>
              <a:ext cx="670740" cy="548656"/>
            </a:xfrm>
            <a:custGeom>
              <a:avLst/>
              <a:gdLst>
                <a:gd name="T0" fmla="*/ 7 w 194"/>
                <a:gd name="T1" fmla="*/ 154 h 158"/>
                <a:gd name="T2" fmla="*/ 96 w 194"/>
                <a:gd name="T3" fmla="*/ 83 h 158"/>
                <a:gd name="T4" fmla="*/ 94 w 194"/>
                <a:gd name="T5" fmla="*/ 80 h 158"/>
                <a:gd name="T6" fmla="*/ 89 w 194"/>
                <a:gd name="T7" fmla="*/ 84 h 158"/>
                <a:gd name="T8" fmla="*/ 4 w 194"/>
                <a:gd name="T9" fmla="*/ 2 h 158"/>
                <a:gd name="T10" fmla="*/ 0 w 194"/>
                <a:gd name="T11" fmla="*/ 2 h 158"/>
                <a:gd name="T12" fmla="*/ 0 w 194"/>
                <a:gd name="T13" fmla="*/ 157 h 158"/>
                <a:gd name="T14" fmla="*/ 0 w 194"/>
                <a:gd name="T15" fmla="*/ 157 h 158"/>
                <a:gd name="T16" fmla="*/ 0 w 194"/>
                <a:gd name="T17" fmla="*/ 158 h 158"/>
                <a:gd name="T18" fmla="*/ 1 w 194"/>
                <a:gd name="T19" fmla="*/ 158 h 158"/>
                <a:gd name="T20" fmla="*/ 192 w 194"/>
                <a:gd name="T21" fmla="*/ 158 h 158"/>
                <a:gd name="T22" fmla="*/ 192 w 194"/>
                <a:gd name="T23" fmla="*/ 154 h 158"/>
                <a:gd name="T24" fmla="*/ 157 w 194"/>
                <a:gd name="T25" fmla="*/ 35 h 158"/>
                <a:gd name="T26" fmla="*/ 166 w 194"/>
                <a:gd name="T27" fmla="*/ 25 h 158"/>
                <a:gd name="T28" fmla="*/ 154 w 194"/>
                <a:gd name="T29" fmla="*/ 32 h 158"/>
                <a:gd name="T30" fmla="*/ 155 w 194"/>
                <a:gd name="T31" fmla="*/ 35 h 158"/>
                <a:gd name="T32" fmla="*/ 139 w 194"/>
                <a:gd name="T33" fmla="*/ 49 h 158"/>
                <a:gd name="T34" fmla="*/ 148 w 194"/>
                <a:gd name="T35" fmla="*/ 39 h 158"/>
                <a:gd name="T36" fmla="*/ 137 w 194"/>
                <a:gd name="T37" fmla="*/ 45 h 158"/>
                <a:gd name="T38" fmla="*/ 138 w 194"/>
                <a:gd name="T39" fmla="*/ 49 h 158"/>
                <a:gd name="T40" fmla="*/ 122 w 194"/>
                <a:gd name="T41" fmla="*/ 62 h 158"/>
                <a:gd name="T42" fmla="*/ 131 w 194"/>
                <a:gd name="T43" fmla="*/ 53 h 158"/>
                <a:gd name="T44" fmla="*/ 120 w 194"/>
                <a:gd name="T45" fmla="*/ 59 h 158"/>
                <a:gd name="T46" fmla="*/ 121 w 194"/>
                <a:gd name="T47" fmla="*/ 63 h 158"/>
                <a:gd name="T48" fmla="*/ 105 w 194"/>
                <a:gd name="T49" fmla="*/ 76 h 158"/>
                <a:gd name="T50" fmla="*/ 114 w 194"/>
                <a:gd name="T51" fmla="*/ 67 h 158"/>
                <a:gd name="T52" fmla="*/ 102 w 194"/>
                <a:gd name="T53" fmla="*/ 73 h 158"/>
                <a:gd name="T54" fmla="*/ 103 w 194"/>
                <a:gd name="T55" fmla="*/ 77 h 158"/>
                <a:gd name="T56" fmla="*/ 174 w 194"/>
                <a:gd name="T57" fmla="*/ 21 h 158"/>
                <a:gd name="T58" fmla="*/ 179 w 194"/>
                <a:gd name="T59" fmla="*/ 14 h 158"/>
                <a:gd name="T60" fmla="*/ 171 w 194"/>
                <a:gd name="T61" fmla="*/ 18 h 158"/>
                <a:gd name="T62" fmla="*/ 173 w 194"/>
                <a:gd name="T63" fmla="*/ 2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4" h="158">
                  <a:moveTo>
                    <a:pt x="192" y="154"/>
                  </a:moveTo>
                  <a:cubicBezTo>
                    <a:pt x="7" y="154"/>
                    <a:pt x="7" y="154"/>
                    <a:pt x="7" y="154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7" y="82"/>
                    <a:pt x="97" y="81"/>
                    <a:pt x="96" y="80"/>
                  </a:cubicBezTo>
                  <a:cubicBezTo>
                    <a:pt x="96" y="79"/>
                    <a:pt x="94" y="79"/>
                    <a:pt x="94" y="80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4" y="152"/>
                    <a:pt x="4" y="152"/>
                    <a:pt x="4" y="15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56"/>
                    <a:pt x="0" y="156"/>
                    <a:pt x="0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57"/>
                    <a:pt x="0" y="157"/>
                    <a:pt x="0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58"/>
                    <a:pt x="1" y="158"/>
                    <a:pt x="1" y="158"/>
                  </a:cubicBezTo>
                  <a:cubicBezTo>
                    <a:pt x="1" y="158"/>
                    <a:pt x="1" y="158"/>
                    <a:pt x="1" y="158"/>
                  </a:cubicBezTo>
                  <a:cubicBezTo>
                    <a:pt x="1" y="158"/>
                    <a:pt x="1" y="158"/>
                    <a:pt x="2" y="158"/>
                  </a:cubicBezTo>
                  <a:cubicBezTo>
                    <a:pt x="192" y="158"/>
                    <a:pt x="192" y="158"/>
                    <a:pt x="192" y="158"/>
                  </a:cubicBezTo>
                  <a:cubicBezTo>
                    <a:pt x="193" y="158"/>
                    <a:pt x="194" y="157"/>
                    <a:pt x="194" y="156"/>
                  </a:cubicBezTo>
                  <a:cubicBezTo>
                    <a:pt x="194" y="155"/>
                    <a:pt x="193" y="154"/>
                    <a:pt x="192" y="154"/>
                  </a:cubicBezTo>
                  <a:close/>
                  <a:moveTo>
                    <a:pt x="155" y="35"/>
                  </a:moveTo>
                  <a:cubicBezTo>
                    <a:pt x="156" y="35"/>
                    <a:pt x="156" y="35"/>
                    <a:pt x="157" y="35"/>
                  </a:cubicBezTo>
                  <a:cubicBezTo>
                    <a:pt x="165" y="28"/>
                    <a:pt x="165" y="28"/>
                    <a:pt x="165" y="28"/>
                  </a:cubicBezTo>
                  <a:cubicBezTo>
                    <a:pt x="166" y="27"/>
                    <a:pt x="166" y="26"/>
                    <a:pt x="166" y="25"/>
                  </a:cubicBezTo>
                  <a:cubicBezTo>
                    <a:pt x="165" y="24"/>
                    <a:pt x="164" y="24"/>
                    <a:pt x="163" y="25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3" y="32"/>
                    <a:pt x="153" y="34"/>
                    <a:pt x="154" y="34"/>
                  </a:cubicBezTo>
                  <a:cubicBezTo>
                    <a:pt x="154" y="35"/>
                    <a:pt x="155" y="35"/>
                    <a:pt x="155" y="35"/>
                  </a:cubicBezTo>
                  <a:close/>
                  <a:moveTo>
                    <a:pt x="138" y="49"/>
                  </a:moveTo>
                  <a:cubicBezTo>
                    <a:pt x="139" y="49"/>
                    <a:pt x="139" y="49"/>
                    <a:pt x="139" y="49"/>
                  </a:cubicBezTo>
                  <a:cubicBezTo>
                    <a:pt x="148" y="42"/>
                    <a:pt x="148" y="42"/>
                    <a:pt x="148" y="42"/>
                  </a:cubicBezTo>
                  <a:cubicBezTo>
                    <a:pt x="149" y="41"/>
                    <a:pt x="149" y="40"/>
                    <a:pt x="148" y="39"/>
                  </a:cubicBezTo>
                  <a:cubicBezTo>
                    <a:pt x="148" y="38"/>
                    <a:pt x="146" y="38"/>
                    <a:pt x="146" y="39"/>
                  </a:cubicBezTo>
                  <a:cubicBezTo>
                    <a:pt x="137" y="45"/>
                    <a:pt x="137" y="45"/>
                    <a:pt x="137" y="45"/>
                  </a:cubicBezTo>
                  <a:cubicBezTo>
                    <a:pt x="136" y="46"/>
                    <a:pt x="136" y="47"/>
                    <a:pt x="137" y="48"/>
                  </a:cubicBezTo>
                  <a:cubicBezTo>
                    <a:pt x="137" y="49"/>
                    <a:pt x="138" y="49"/>
                    <a:pt x="138" y="49"/>
                  </a:cubicBezTo>
                  <a:close/>
                  <a:moveTo>
                    <a:pt x="121" y="63"/>
                  </a:moveTo>
                  <a:cubicBezTo>
                    <a:pt x="121" y="63"/>
                    <a:pt x="122" y="63"/>
                    <a:pt x="122" y="62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2" y="55"/>
                    <a:pt x="132" y="54"/>
                    <a:pt x="131" y="53"/>
                  </a:cubicBezTo>
                  <a:cubicBezTo>
                    <a:pt x="130" y="52"/>
                    <a:pt x="129" y="52"/>
                    <a:pt x="128" y="5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9" y="60"/>
                    <a:pt x="119" y="61"/>
                    <a:pt x="119" y="62"/>
                  </a:cubicBezTo>
                  <a:cubicBezTo>
                    <a:pt x="120" y="63"/>
                    <a:pt x="120" y="63"/>
                    <a:pt x="121" y="63"/>
                  </a:cubicBezTo>
                  <a:close/>
                  <a:moveTo>
                    <a:pt x="103" y="77"/>
                  </a:moveTo>
                  <a:cubicBezTo>
                    <a:pt x="104" y="77"/>
                    <a:pt x="104" y="77"/>
                    <a:pt x="105" y="76"/>
                  </a:cubicBezTo>
                  <a:cubicBezTo>
                    <a:pt x="113" y="69"/>
                    <a:pt x="113" y="69"/>
                    <a:pt x="113" y="69"/>
                  </a:cubicBezTo>
                  <a:cubicBezTo>
                    <a:pt x="114" y="69"/>
                    <a:pt x="114" y="67"/>
                    <a:pt x="114" y="67"/>
                  </a:cubicBezTo>
                  <a:cubicBezTo>
                    <a:pt x="113" y="66"/>
                    <a:pt x="112" y="66"/>
                    <a:pt x="111" y="66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1" y="74"/>
                    <a:pt x="101" y="75"/>
                    <a:pt x="102" y="76"/>
                  </a:cubicBezTo>
                  <a:cubicBezTo>
                    <a:pt x="102" y="76"/>
                    <a:pt x="103" y="77"/>
                    <a:pt x="103" y="77"/>
                  </a:cubicBezTo>
                  <a:close/>
                  <a:moveTo>
                    <a:pt x="173" y="21"/>
                  </a:moveTo>
                  <a:cubicBezTo>
                    <a:pt x="173" y="21"/>
                    <a:pt x="174" y="21"/>
                    <a:pt x="174" y="21"/>
                  </a:cubicBezTo>
                  <a:cubicBezTo>
                    <a:pt x="179" y="17"/>
                    <a:pt x="179" y="17"/>
                    <a:pt x="179" y="17"/>
                  </a:cubicBezTo>
                  <a:cubicBezTo>
                    <a:pt x="180" y="17"/>
                    <a:pt x="180" y="15"/>
                    <a:pt x="179" y="14"/>
                  </a:cubicBezTo>
                  <a:cubicBezTo>
                    <a:pt x="178" y="14"/>
                    <a:pt x="177" y="13"/>
                    <a:pt x="176" y="14"/>
                  </a:cubicBezTo>
                  <a:cubicBezTo>
                    <a:pt x="171" y="18"/>
                    <a:pt x="171" y="18"/>
                    <a:pt x="171" y="18"/>
                  </a:cubicBezTo>
                  <a:cubicBezTo>
                    <a:pt x="171" y="19"/>
                    <a:pt x="170" y="20"/>
                    <a:pt x="171" y="21"/>
                  </a:cubicBezTo>
                  <a:cubicBezTo>
                    <a:pt x="172" y="21"/>
                    <a:pt x="172" y="21"/>
                    <a:pt x="173" y="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000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7107ABC-1AA7-81BC-8651-F2F27183FA96}"/>
              </a:ext>
            </a:extLst>
          </p:cNvPr>
          <p:cNvSpPr/>
          <p:nvPr/>
        </p:nvSpPr>
        <p:spPr>
          <a:xfrm>
            <a:off x="6392" y="1714073"/>
            <a:ext cx="12192000" cy="6717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/>
              <a:t>Go through a case study – typical of the type of work we do in our team</a:t>
            </a:r>
          </a:p>
        </p:txBody>
      </p:sp>
    </p:spTree>
    <p:extLst>
      <p:ext uri="{BB962C8B-B14F-4D97-AF65-F5344CB8AC3E}">
        <p14:creationId xmlns:p14="http://schemas.microsoft.com/office/powerpoint/2010/main" val="598050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F95FE-B77E-8715-F93F-A98CC3B93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fore we sta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119806-EEAD-9439-9D2F-FB0FBF24F9C6}"/>
              </a:ext>
            </a:extLst>
          </p:cNvPr>
          <p:cNvSpPr txBox="1"/>
          <p:nvPr/>
        </p:nvSpPr>
        <p:spPr>
          <a:xfrm>
            <a:off x="1596000" y="4301608"/>
            <a:ext cx="9000000" cy="338554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>
                <a:latin typeface="+mn-lt"/>
              </a:rPr>
              <a:t>https://jupyter.org/try-jupyter/lab/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68827F-6AFB-59B1-CC86-05A3C8C38FFB}"/>
              </a:ext>
            </a:extLst>
          </p:cNvPr>
          <p:cNvSpPr/>
          <p:nvPr/>
        </p:nvSpPr>
        <p:spPr>
          <a:xfrm>
            <a:off x="1596000" y="2620920"/>
            <a:ext cx="9000000" cy="380302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600">
                <a:solidFill>
                  <a:sysClr val="windowText" lastClr="000000"/>
                </a:solidFill>
              </a:rPr>
              <a:t>https://github.com/tmuratoreacc/electric_car_ex</a:t>
            </a:r>
            <a:endParaRPr lang="en-US" sz="16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1C6B9C-E3AE-B247-E6B3-1E6273C4BF0C}"/>
              </a:ext>
            </a:extLst>
          </p:cNvPr>
          <p:cNvSpPr/>
          <p:nvPr/>
        </p:nvSpPr>
        <p:spPr>
          <a:xfrm>
            <a:off x="772433" y="1887918"/>
            <a:ext cx="7436167" cy="3803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>
                <a:solidFill>
                  <a:sysClr val="windowText" lastClr="000000"/>
                </a:solidFill>
              </a:rPr>
              <a:t>All the code and data you will need today is available here 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DF7A56-068C-59E9-C9B8-FA18518FAD8E}"/>
              </a:ext>
            </a:extLst>
          </p:cNvPr>
          <p:cNvSpPr/>
          <p:nvPr/>
        </p:nvSpPr>
        <p:spPr>
          <a:xfrm>
            <a:off x="772433" y="3603234"/>
            <a:ext cx="7436167" cy="3803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>
                <a:solidFill>
                  <a:sysClr val="windowText" lastClr="000000"/>
                </a:solidFill>
              </a:rPr>
              <a:t>We will be working on a </a:t>
            </a:r>
            <a:r>
              <a:rPr lang="en-US" sz="1600" err="1">
                <a:solidFill>
                  <a:sysClr val="windowText" lastClr="000000"/>
                </a:solidFill>
              </a:rPr>
              <a:t>Jupyter</a:t>
            </a:r>
            <a:r>
              <a:rPr lang="en-US" sz="1600">
                <a:solidFill>
                  <a:sysClr val="windowText" lastClr="000000"/>
                </a:solidFill>
              </a:rPr>
              <a:t> notebook, a free instance is available here :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028000-4D0C-0698-358F-7332EF32B99C}"/>
              </a:ext>
            </a:extLst>
          </p:cNvPr>
          <p:cNvSpPr/>
          <p:nvPr/>
        </p:nvSpPr>
        <p:spPr>
          <a:xfrm>
            <a:off x="-6350" y="5257655"/>
            <a:ext cx="12198350" cy="6717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600"/>
              </a:spcBef>
            </a:pPr>
            <a:r>
              <a:rPr lang="en-US" sz="1600">
                <a:solidFill>
                  <a:schemeClr val="bg1"/>
                </a:solidFill>
              </a:rPr>
              <a:t>Download the data from the gist and upload it in the </a:t>
            </a:r>
            <a:r>
              <a:rPr lang="en-US" sz="1600" err="1">
                <a:solidFill>
                  <a:schemeClr val="bg1"/>
                </a:solidFill>
              </a:rPr>
              <a:t>Jupyter</a:t>
            </a:r>
            <a:r>
              <a:rPr lang="en-US" sz="1600">
                <a:solidFill>
                  <a:schemeClr val="bg1"/>
                </a:solidFill>
              </a:rPr>
              <a:t> notebook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748DED-D2CF-506B-CDE6-A97EBA2EF6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4675" y="857943"/>
            <a:ext cx="11029950" cy="531460"/>
          </a:xfrm>
        </p:spPr>
        <p:txBody>
          <a:bodyPr/>
          <a:lstStyle/>
          <a:p>
            <a:r>
              <a:rPr lang="en-US"/>
              <a:t>Downloading data &amp; Loading to Notebook</a:t>
            </a:r>
          </a:p>
        </p:txBody>
      </p:sp>
    </p:spTree>
    <p:extLst>
      <p:ext uri="{BB962C8B-B14F-4D97-AF65-F5344CB8AC3E}">
        <p14:creationId xmlns:p14="http://schemas.microsoft.com/office/powerpoint/2010/main" val="354962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F95FE-B77E-8715-F93F-A98CC3B93E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3462337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Let’s spend some time thinking about our approach</a:t>
            </a:r>
          </a:p>
        </p:txBody>
      </p:sp>
    </p:spTree>
    <p:extLst>
      <p:ext uri="{BB962C8B-B14F-4D97-AF65-F5344CB8AC3E}">
        <p14:creationId xmlns:p14="http://schemas.microsoft.com/office/powerpoint/2010/main" val="931179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F95FE-B77E-8715-F93F-A98CC3B93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data do we have 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E69E75-7228-D900-AC17-EAA9527FE9EB}"/>
              </a:ext>
            </a:extLst>
          </p:cNvPr>
          <p:cNvSpPr/>
          <p:nvPr/>
        </p:nvSpPr>
        <p:spPr>
          <a:xfrm>
            <a:off x="587375" y="1586576"/>
            <a:ext cx="3471096" cy="46447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300">
                <a:solidFill>
                  <a:schemeClr val="bg1"/>
                </a:solidFill>
              </a:rPr>
              <a:t>Traffic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4B4416-92D8-E8F4-B97B-999CF4DC864D}"/>
              </a:ext>
            </a:extLst>
          </p:cNvPr>
          <p:cNvSpPr/>
          <p:nvPr/>
        </p:nvSpPr>
        <p:spPr>
          <a:xfrm>
            <a:off x="4366802" y="1586576"/>
            <a:ext cx="3471096" cy="46447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300">
                <a:solidFill>
                  <a:schemeClr val="bg1"/>
                </a:solidFill>
              </a:rPr>
              <a:t>Car 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7CEB2C-AF2F-D614-B6BB-A8C7C1C749AA}"/>
              </a:ext>
            </a:extLst>
          </p:cNvPr>
          <p:cNvSpPr/>
          <p:nvPr/>
        </p:nvSpPr>
        <p:spPr>
          <a:xfrm>
            <a:off x="8133529" y="1586576"/>
            <a:ext cx="3471096" cy="46447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300">
                <a:solidFill>
                  <a:schemeClr val="bg1"/>
                </a:solidFill>
              </a:rPr>
              <a:t>Station Dat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8B25EDB-49E2-E49F-67AF-4159D5CA75BB}"/>
              </a:ext>
            </a:extLst>
          </p:cNvPr>
          <p:cNvSpPr/>
          <p:nvPr/>
        </p:nvSpPr>
        <p:spPr>
          <a:xfrm>
            <a:off x="587375" y="2049942"/>
            <a:ext cx="3471096" cy="317489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Past &amp; Future Traffic Data with descriptive factors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Date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Zone Name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Rainy Day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Population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Median Salary (EUR)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Shops per 1k </a:t>
            </a:r>
            <a:r>
              <a:rPr lang="en-US" sz="1050" i="1" err="1">
                <a:solidFill>
                  <a:schemeClr val="tx1"/>
                </a:solidFill>
              </a:rPr>
              <a:t>hab</a:t>
            </a:r>
            <a:endParaRPr lang="en-US" sz="1050" i="1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Hospitals per 1M </a:t>
            </a:r>
            <a:r>
              <a:rPr lang="en-US" sz="1050" i="1" err="1">
                <a:solidFill>
                  <a:schemeClr val="tx1"/>
                </a:solidFill>
              </a:rPr>
              <a:t>hab</a:t>
            </a:r>
            <a:endParaRPr lang="en-US" sz="1050" i="1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Childcare per 100 children under 3 </a:t>
            </a:r>
            <a:r>
              <a:rPr lang="en-US" sz="1050" i="1" err="1">
                <a:solidFill>
                  <a:schemeClr val="tx1"/>
                </a:solidFill>
              </a:rPr>
              <a:t>y.o</a:t>
            </a:r>
            <a:r>
              <a:rPr lang="en-US" sz="1050" i="1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600"/>
              </a:spcBef>
            </a:pPr>
            <a:r>
              <a:rPr lang="en-US" sz="1050" i="1" err="1">
                <a:solidFill>
                  <a:schemeClr val="tx1"/>
                </a:solidFill>
              </a:rPr>
              <a:t>Public_Transport_Quality</a:t>
            </a:r>
            <a:endParaRPr lang="en-US" sz="1050" i="1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050" i="1" err="1">
                <a:solidFill>
                  <a:schemeClr val="tx1"/>
                </a:solidFill>
              </a:rPr>
              <a:t>Infrastructure_Quality</a:t>
            </a:r>
            <a:endParaRPr lang="en-US" sz="1050" i="1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Traffic</a:t>
            </a:r>
          </a:p>
          <a:p>
            <a:pPr>
              <a:spcBef>
                <a:spcPts val="600"/>
              </a:spcBef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9DCCE1C-3B2E-EFC6-2F84-CE28ACCEE2F0}"/>
              </a:ext>
            </a:extLst>
          </p:cNvPr>
          <p:cNvSpPr/>
          <p:nvPr/>
        </p:nvSpPr>
        <p:spPr>
          <a:xfrm>
            <a:off x="4366802" y="2049942"/>
            <a:ext cx="3471096" cy="16076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400">
                <a:solidFill>
                  <a:schemeClr val="tx1"/>
                </a:solidFill>
              </a:rPr>
              <a:t>General information about cars</a:t>
            </a:r>
            <a:endParaRPr lang="en-US" sz="105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Date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Zone Name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% Electric Cars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Average Consumption (kWh/km)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Average Daily Distance (km/d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F69154-42A5-7A02-56F3-128A75320C43}"/>
              </a:ext>
            </a:extLst>
          </p:cNvPr>
          <p:cNvSpPr/>
          <p:nvPr/>
        </p:nvSpPr>
        <p:spPr>
          <a:xfrm>
            <a:off x="8133529" y="2049942"/>
            <a:ext cx="3471096" cy="11631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300">
                <a:solidFill>
                  <a:schemeClr val="tx1"/>
                </a:solidFill>
              </a:rPr>
              <a:t>Own and competitor station information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Zone Name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Station ID</a:t>
            </a:r>
          </a:p>
          <a:p>
            <a:pPr>
              <a:spcBef>
                <a:spcPts val="600"/>
              </a:spcBef>
            </a:pPr>
            <a:r>
              <a:rPr lang="en-US" sz="1050" i="1">
                <a:solidFill>
                  <a:schemeClr val="tx1"/>
                </a:solidFill>
              </a:rPr>
              <a:t>Station Size (kW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DCA19D1-0C9B-B0C5-6D17-42E398D3E78A}"/>
              </a:ext>
            </a:extLst>
          </p:cNvPr>
          <p:cNvSpPr txBox="1"/>
          <p:nvPr/>
        </p:nvSpPr>
        <p:spPr>
          <a:xfrm>
            <a:off x="4978400" y="4400654"/>
            <a:ext cx="6096000" cy="15465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05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In France, about 20% of the electric vehicle charging needs are covered through home charging outlets.</a:t>
            </a:r>
            <a:endParaRPr lang="en-US" altLang="fr-FR" sz="1050" dirty="0"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05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Vehicle traffic in France is heavily dependent on the time of day. It can be considered that it is doubled during the following time slots: 6:30-9:30, 12:00-14:00, 16:30-19:30.</a:t>
            </a:r>
            <a:endParaRPr lang="en-US" altLang="fr-FR" sz="1050" dirty="0"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05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There is no competition between the various players on the selling price of electricity.</a:t>
            </a:r>
            <a:endParaRPr lang="en-US" altLang="fr-FR" sz="1050" dirty="0"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05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The average speed for a home - work journey is 45 km/h (about 28 mph).</a:t>
            </a:r>
            <a:endParaRPr lang="en-US" altLang="fr-FR" sz="1050" dirty="0"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05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The choice of charging stations in an area does not depend on the characteristics of the available stations.</a:t>
            </a:r>
            <a:endParaRPr lang="en-US" altLang="fr-FR" sz="1050" dirty="0"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05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A French person uses their car on average 4 times a week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5CC6683-2045-5078-5571-C822E4CD5025}"/>
              </a:ext>
            </a:extLst>
          </p:cNvPr>
          <p:cNvSpPr txBox="1"/>
          <p:nvPr/>
        </p:nvSpPr>
        <p:spPr>
          <a:xfrm>
            <a:off x="4978400" y="4120966"/>
            <a:ext cx="6096000" cy="276999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kumimoji="0" lang="en-US" altLang="fr-FR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Key assumptions </a:t>
            </a:r>
            <a:r>
              <a:rPr kumimoji="0" lang="en-US" altLang="fr-FR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hat you may potentially need for the modeling:</a:t>
            </a: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853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F95FE-B77E-8715-F93F-A98CC3B93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data do we have 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56B664F-A5EC-EE7E-ED37-E88C941427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8400" y="1758436"/>
            <a:ext cx="9512300" cy="36933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fr-FR" sz="1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Here is the list of functions made available to you: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A9062F-EE7C-DE9D-CC67-14239D406302}"/>
              </a:ext>
            </a:extLst>
          </p:cNvPr>
          <p:cNvSpPr txBox="1"/>
          <p:nvPr/>
        </p:nvSpPr>
        <p:spPr>
          <a:xfrm>
            <a:off x="1168400" y="2124983"/>
            <a:ext cx="9512300" cy="270843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load_data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loads the data from the csv files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preview_table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prints the first 5 rows of the table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plot_column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, colum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describe_column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, </a:t>
            </a: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column_name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prints the description of the column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fit_predicting_model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, features, target, </a:t>
            </a: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model_type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fits a model on the table and returns it. The available 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model_types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 are “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linear_regression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”, “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decision_tree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”, “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xgboost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”.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make_prediction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, features, target, model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makes a prediction on the table using the model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stack_tables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_1, table_2, </a:t>
            </a: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stack_type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stacks table_1 and table_2 either vertically or horizontally. 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Stack_type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 can be “vertical” or “horizontal”.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join_tables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_1, table_2, </a:t>
            </a: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join_key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, </a:t>
            </a: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join_type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joins table_1 and table_2 on the 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join_key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. 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Join_type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 can be “left”, “right”, “outer” or “inner”.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apply_calculation_to_row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, </a:t>
            </a: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new_column_name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, function, columns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applies the function to the columns and creates a new column named 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new_column_name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aggregate_sum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table, </a:t>
            </a: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column_name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, </a:t>
            </a:r>
            <a:r>
              <a:rPr kumimoji="0" lang="en-US" altLang="fr-FR" sz="14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new_column_name</a:t>
            </a:r>
            <a:r>
              <a:rPr kumimoji="0" lang="en-US" altLang="fr-FR" sz="14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)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: aggregates the 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column_name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 by summing it and creates a new column named </a:t>
            </a:r>
            <a:r>
              <a:rPr kumimoji="0" lang="en-US" altLang="fr-FR" sz="1000" b="0" i="0" u="none" strike="noStrike" cap="none" normalizeH="0" baseline="0" dirty="0" err="1">
                <a:ln>
                  <a:noFill/>
                </a:ln>
                <a:effectLst/>
                <a:latin typeface="+mn-lt"/>
              </a:rPr>
              <a:t>new_column_name</a:t>
            </a:r>
            <a:r>
              <a:rPr kumimoji="0" lang="en-US" altLang="fr-FR" sz="1000" b="0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 </a:t>
            </a:r>
            <a:endParaRPr kumimoji="0" lang="en-US" altLang="fr-FR" sz="32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9754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F95FE-B77E-8715-F93F-A98CC3B93E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69912"/>
            <a:ext cx="9144000" cy="3462337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Thank you for your attention today</a:t>
            </a:r>
          </a:p>
        </p:txBody>
      </p:sp>
    </p:spTree>
    <p:extLst>
      <p:ext uri="{BB962C8B-B14F-4D97-AF65-F5344CB8AC3E}">
        <p14:creationId xmlns:p14="http://schemas.microsoft.com/office/powerpoint/2010/main" val="36865157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576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RKERNAME" val="Accuryce_Report_Subtitle"/>
  <p:tag name="TOPPOS" val="273.25"/>
  <p:tag name="LEFTPOS" val="95.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RKERNAME" val="AccFullLogoRe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tveE4tQYOczarNJ_WG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tveE4tQYOczarNJ_WG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tveE4tQYOczarNJ_WGX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Accuracy">
  <a:themeElements>
    <a:clrScheme name="Accuracy pitch v3">
      <a:dk1>
        <a:srgbClr val="262626"/>
      </a:dk1>
      <a:lt1>
        <a:srgbClr val="FFFFFF"/>
      </a:lt1>
      <a:dk2>
        <a:srgbClr val="364250"/>
      </a:dk2>
      <a:lt2>
        <a:srgbClr val="E6E6E6"/>
      </a:lt2>
      <a:accent1>
        <a:srgbClr val="CE1719"/>
      </a:accent1>
      <a:accent2>
        <a:srgbClr val="364250"/>
      </a:accent2>
      <a:accent3>
        <a:srgbClr val="B6CC0D"/>
      </a:accent3>
      <a:accent4>
        <a:srgbClr val="3CAFE6"/>
      </a:accent4>
      <a:accent5>
        <a:srgbClr val="929292"/>
      </a:accent5>
      <a:accent6>
        <a:srgbClr val="CE1719"/>
      </a:accent6>
      <a:hlink>
        <a:srgbClr val="000000"/>
      </a:hlink>
      <a:folHlink>
        <a:srgbClr val="000000"/>
      </a:folHlink>
    </a:clrScheme>
    <a:fontScheme name="Century Gothic &amp; Arial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defRPr sz="13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68288" indent="-268288">
          <a:spcBef>
            <a:spcPts val="600"/>
          </a:spcBef>
          <a:buBlip>
            <a:blip xmlns:r="http://schemas.openxmlformats.org/officeDocument/2006/relationships" r:embed="rId1"/>
          </a:buBlip>
          <a:defRPr sz="1300" dirty="0" err="1">
            <a:solidFill>
              <a:srgbClr val="262626"/>
            </a:solidFill>
            <a:latin typeface="Arial"/>
          </a:defRPr>
        </a:defPPr>
      </a:lstStyle>
    </a:txDef>
  </a:objectDefaults>
  <a:extraClrSchemeLst/>
  <a:custClrLst>
    <a:custClr name="Burgundy">
      <a:srgbClr val="9C0534"/>
    </a:custClr>
    <a:custClr name="Salmon">
      <a:srgbClr val="FDE2CB"/>
    </a:custClr>
    <a:custClr name="Ligh salmon">
      <a:srgbClr val="FFF9E7"/>
    </a:custClr>
    <a:custClr name="Ligh grey">
      <a:srgbClr val="F2F2F2"/>
    </a:custClr>
    <a:custClr name="Post-it">
      <a:srgbClr val="FFFF99"/>
    </a:custClr>
  </a:custClrLst>
  <a:extLst>
    <a:ext uri="{05A4C25C-085E-4340-85A3-A5531E510DB2}">
      <thm15:themeFamily xmlns:thm15="http://schemas.microsoft.com/office/thememl/2012/main" name="Accuracy" id="{00F8856E-4AA2-40B4-A8B1-432E0E695499}" vid="{964CC064-C6C2-4F4F-A459-79CF430DF8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ccuracy</Template>
  <TotalTime>0</TotalTime>
  <Words>755</Words>
  <Application>Microsoft Office PowerPoint</Application>
  <PresentationFormat>Widescreen</PresentationFormat>
  <Paragraphs>7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ptos</vt:lpstr>
      <vt:lpstr>Arial</vt:lpstr>
      <vt:lpstr>Century Gothic</vt:lpstr>
      <vt:lpstr>Garamond</vt:lpstr>
      <vt:lpstr>Accuracy</vt:lpstr>
      <vt:lpstr>think-cell Slide</vt:lpstr>
      <vt:lpstr>PowerPoint Presentation</vt:lpstr>
      <vt:lpstr>Who are we ?</vt:lpstr>
      <vt:lpstr>What are we doing today ?</vt:lpstr>
      <vt:lpstr>Before we start</vt:lpstr>
      <vt:lpstr>Let’s spend some time thinking about our approach</vt:lpstr>
      <vt:lpstr>What data do we have ?</vt:lpstr>
      <vt:lpstr>What data do we have ?</vt:lpstr>
      <vt:lpstr>Thank you for your attention toda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stan MURATORE</dc:creator>
  <cp:lastModifiedBy>Tristan MURATORE</cp:lastModifiedBy>
  <cp:revision>2</cp:revision>
  <dcterms:created xsi:type="dcterms:W3CDTF">2023-09-25T11:59:54Z</dcterms:created>
  <dcterms:modified xsi:type="dcterms:W3CDTF">2023-10-04T11:2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FR</vt:lpwstr>
  </property>
</Properties>
</file>